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3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4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68" r:id="rId4"/>
    <p:sldMasterId id="2147483660" r:id="rId5"/>
    <p:sldMasterId id="2147483693" r:id="rId6"/>
    <p:sldMasterId id="2147483903" r:id="rId7"/>
    <p:sldMasterId id="2147483931" r:id="rId8"/>
  </p:sldMasterIdLst>
  <p:notesMasterIdLst>
    <p:notesMasterId r:id="rId67"/>
  </p:notesMasterIdLst>
  <p:sldIdLst>
    <p:sldId id="341" r:id="rId9"/>
    <p:sldId id="343" r:id="rId10"/>
    <p:sldId id="344" r:id="rId11"/>
    <p:sldId id="413" r:id="rId12"/>
    <p:sldId id="366" r:id="rId13"/>
    <p:sldId id="367" r:id="rId14"/>
    <p:sldId id="368" r:id="rId15"/>
    <p:sldId id="369" r:id="rId16"/>
    <p:sldId id="345" r:id="rId17"/>
    <p:sldId id="370" r:id="rId18"/>
    <p:sldId id="371" r:id="rId19"/>
    <p:sldId id="372" r:id="rId20"/>
    <p:sldId id="373" r:id="rId21"/>
    <p:sldId id="374" r:id="rId22"/>
    <p:sldId id="375" r:id="rId23"/>
    <p:sldId id="376" r:id="rId24"/>
    <p:sldId id="377" r:id="rId25"/>
    <p:sldId id="378" r:id="rId26"/>
    <p:sldId id="379" r:id="rId27"/>
    <p:sldId id="380" r:id="rId28"/>
    <p:sldId id="381" r:id="rId29"/>
    <p:sldId id="382" r:id="rId30"/>
    <p:sldId id="383" r:id="rId31"/>
    <p:sldId id="384" r:id="rId32"/>
    <p:sldId id="385" r:id="rId33"/>
    <p:sldId id="386" r:id="rId34"/>
    <p:sldId id="387" r:id="rId35"/>
    <p:sldId id="388" r:id="rId36"/>
    <p:sldId id="389" r:id="rId37"/>
    <p:sldId id="346" r:id="rId38"/>
    <p:sldId id="390" r:id="rId39"/>
    <p:sldId id="391" r:id="rId40"/>
    <p:sldId id="392" r:id="rId41"/>
    <p:sldId id="348" r:id="rId42"/>
    <p:sldId id="393" r:id="rId43"/>
    <p:sldId id="394" r:id="rId44"/>
    <p:sldId id="395" r:id="rId45"/>
    <p:sldId id="397" r:id="rId46"/>
    <p:sldId id="398" r:id="rId47"/>
    <p:sldId id="399" r:id="rId48"/>
    <p:sldId id="400" r:id="rId49"/>
    <p:sldId id="401" r:id="rId50"/>
    <p:sldId id="402" r:id="rId51"/>
    <p:sldId id="403" r:id="rId52"/>
    <p:sldId id="404" r:id="rId53"/>
    <p:sldId id="405" r:id="rId54"/>
    <p:sldId id="406" r:id="rId55"/>
    <p:sldId id="407" r:id="rId56"/>
    <p:sldId id="408" r:id="rId57"/>
    <p:sldId id="409" r:id="rId58"/>
    <p:sldId id="410" r:id="rId59"/>
    <p:sldId id="350" r:id="rId60"/>
    <p:sldId id="411" r:id="rId61"/>
    <p:sldId id="351" r:id="rId62"/>
    <p:sldId id="359" r:id="rId63"/>
    <p:sldId id="363" r:id="rId64"/>
    <p:sldId id="362" r:id="rId65"/>
    <p:sldId id="364" r:id="rId66"/>
  </p:sldIdLst>
  <p:sldSz cx="9906000" cy="6858000" type="A4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644AF079-79B7-4763-A662-1D0D55791B37}">
          <p14:sldIdLst>
            <p14:sldId id="341"/>
            <p14:sldId id="343"/>
            <p14:sldId id="344"/>
            <p14:sldId id="413"/>
            <p14:sldId id="366"/>
            <p14:sldId id="367"/>
            <p14:sldId id="368"/>
            <p14:sldId id="369"/>
            <p14:sldId id="345"/>
            <p14:sldId id="370"/>
            <p14:sldId id="371"/>
            <p14:sldId id="372"/>
            <p14:sldId id="373"/>
            <p14:sldId id="374"/>
            <p14:sldId id="375"/>
            <p14:sldId id="376"/>
            <p14:sldId id="377"/>
            <p14:sldId id="378"/>
            <p14:sldId id="379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46"/>
            <p14:sldId id="390"/>
            <p14:sldId id="391"/>
            <p14:sldId id="392"/>
            <p14:sldId id="348"/>
            <p14:sldId id="393"/>
            <p14:sldId id="394"/>
            <p14:sldId id="395"/>
            <p14:sldId id="397"/>
            <p14:sldId id="398"/>
            <p14:sldId id="399"/>
            <p14:sldId id="400"/>
            <p14:sldId id="401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350"/>
            <p14:sldId id="411"/>
            <p14:sldId id="351"/>
            <p14:sldId id="359"/>
            <p14:sldId id="363"/>
            <p14:sldId id="362"/>
            <p14:sldId id="36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yazami-Adli Mohamed" initials="EM" lastIdx="1" clrIdx="0">
    <p:extLst>
      <p:ext uri="{19B8F6BF-5375-455C-9EA6-DF929625EA0E}">
        <p15:presenceInfo xmlns:p15="http://schemas.microsoft.com/office/powerpoint/2012/main" userId="S-1-5-21-383200802-4186732323-4104849335-52109" providerId="AD"/>
      </p:ext>
    </p:extLst>
  </p:cmAuthor>
  <p:cmAuthor id="2" name="Harouche Nadia" initials="HN" lastIdx="1" clrIdx="1">
    <p:extLst>
      <p:ext uri="{19B8F6BF-5375-455C-9EA6-DF929625EA0E}">
        <p15:presenceInfo xmlns:p15="http://schemas.microsoft.com/office/powerpoint/2012/main" userId="S::nadia.harouche@csmaroc.gfi.fr::4ebcfa52-f785-4bd8-817d-ccbf72961ec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C2C4"/>
    <a:srgbClr val="ABA1A4"/>
    <a:srgbClr val="F57100"/>
    <a:srgbClr val="C0E947"/>
    <a:srgbClr val="82DD46"/>
    <a:srgbClr val="4DCE47"/>
    <a:srgbClr val="D4FE22"/>
    <a:srgbClr val="FFB04C"/>
    <a:srgbClr val="49BE6D"/>
    <a:srgbClr val="A9D1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6" d="100"/>
          <a:sy n="96" d="100"/>
        </p:scale>
        <p:origin x="1800" y="7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63" Type="http://schemas.openxmlformats.org/officeDocument/2006/relationships/slide" Target="slides/slide55.xml"/><Relationship Id="rId68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71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slide" Target="slides/slide5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61" Type="http://schemas.openxmlformats.org/officeDocument/2006/relationships/slide" Target="slides/slide53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5159B6-2759-4DED-A09B-3F2A452E1F9C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89C75BD4-0AE0-4BC1-8362-939994F8B521}">
      <dgm:prSet phldrT="[Texte]" custT="1"/>
      <dgm:spPr/>
      <dgm:t>
        <a:bodyPr/>
        <a:lstStyle/>
        <a:p>
          <a:r>
            <a:rPr lang="fr-FR" sz="1800" b="1" u="sng" dirty="0">
              <a:solidFill>
                <a:schemeClr val="tx2"/>
              </a:solidFill>
            </a:rPr>
            <a:t>API, Applicatifs et Architecture</a:t>
          </a:r>
        </a:p>
      </dgm:t>
    </dgm:pt>
    <dgm:pt modelId="{8EEC2183-3EC6-4D67-8245-08AFF534528A}" type="parTrans" cxnId="{B61B3CE8-116B-432B-A42A-DA22A64DB10B}">
      <dgm:prSet/>
      <dgm:spPr/>
      <dgm:t>
        <a:bodyPr/>
        <a:lstStyle/>
        <a:p>
          <a:endParaRPr lang="fr-FR"/>
        </a:p>
      </dgm:t>
    </dgm:pt>
    <dgm:pt modelId="{3E859EAA-1A22-4B4C-A9D9-27693294BD69}" type="sibTrans" cxnId="{B61B3CE8-116B-432B-A42A-DA22A64DB10B}">
      <dgm:prSet/>
      <dgm:spPr/>
      <dgm:t>
        <a:bodyPr/>
        <a:lstStyle/>
        <a:p>
          <a:endParaRPr lang="fr-FR"/>
        </a:p>
      </dgm:t>
    </dgm:pt>
    <dgm:pt modelId="{B1470EAD-DC6D-4BD7-A6F7-0DBB60EF5A44}">
      <dgm:prSet phldrT="[Texte]" custT="1"/>
      <dgm:spPr/>
      <dgm:t>
        <a:bodyPr/>
        <a:lstStyle/>
        <a:p>
          <a:r>
            <a:rPr lang="fr-FR" sz="1600" b="1" dirty="0" err="1">
              <a:solidFill>
                <a:schemeClr val="tx2"/>
              </a:solidFill>
            </a:rPr>
            <a:t>SpringBoot</a:t>
          </a:r>
          <a:r>
            <a:rPr lang="fr-FR" sz="1800" b="1" dirty="0">
              <a:solidFill>
                <a:schemeClr val="tx2"/>
              </a:solidFill>
            </a:rPr>
            <a:t> 2.4.9</a:t>
          </a:r>
        </a:p>
      </dgm:t>
    </dgm:pt>
    <dgm:pt modelId="{17562937-A9E0-40D7-AF9C-6ACFDA9293FA}" type="parTrans" cxnId="{F15C1296-CF10-400D-8D60-0095481754E0}">
      <dgm:prSet/>
      <dgm:spPr/>
      <dgm:t>
        <a:bodyPr/>
        <a:lstStyle/>
        <a:p>
          <a:endParaRPr lang="fr-FR"/>
        </a:p>
      </dgm:t>
    </dgm:pt>
    <dgm:pt modelId="{24AC53EA-13AD-4B89-8F13-D4E4020376E1}" type="sibTrans" cxnId="{F15C1296-CF10-400D-8D60-0095481754E0}">
      <dgm:prSet/>
      <dgm:spPr/>
      <dgm:t>
        <a:bodyPr/>
        <a:lstStyle/>
        <a:p>
          <a:endParaRPr lang="fr-FR"/>
        </a:p>
      </dgm:t>
    </dgm:pt>
    <dgm:pt modelId="{4ACC8360-BBAA-469F-AB30-FFE3E6A2B0FB}">
      <dgm:prSet phldrT="[Texte]" custT="1"/>
      <dgm:spPr/>
      <dgm:t>
        <a:bodyPr/>
        <a:lstStyle/>
        <a:p>
          <a:r>
            <a:rPr lang="fr-FR" sz="1600" b="1" dirty="0">
              <a:solidFill>
                <a:schemeClr val="tx2"/>
              </a:solidFill>
            </a:rPr>
            <a:t>Java 8</a:t>
          </a:r>
          <a:endParaRPr lang="fr-FR" sz="1600" dirty="0"/>
        </a:p>
      </dgm:t>
    </dgm:pt>
    <dgm:pt modelId="{A3B340D0-AF0D-4E48-A682-91F9FF615BCD}" type="parTrans" cxnId="{6E7A70C5-34F7-4281-B0FD-87A0998D8DCF}">
      <dgm:prSet/>
      <dgm:spPr/>
      <dgm:t>
        <a:bodyPr/>
        <a:lstStyle/>
        <a:p>
          <a:endParaRPr lang="fr-FR"/>
        </a:p>
      </dgm:t>
    </dgm:pt>
    <dgm:pt modelId="{C57CA316-28F7-411A-B0B4-0D1E1C3A7287}" type="sibTrans" cxnId="{6E7A70C5-34F7-4281-B0FD-87A0998D8DCF}">
      <dgm:prSet/>
      <dgm:spPr/>
      <dgm:t>
        <a:bodyPr/>
        <a:lstStyle/>
        <a:p>
          <a:endParaRPr lang="fr-FR"/>
        </a:p>
      </dgm:t>
    </dgm:pt>
    <dgm:pt modelId="{0328F9CC-D634-4CDC-AFB1-A51C75D8C190}">
      <dgm:prSet phldrT="[Texte]" custT="1"/>
      <dgm:spPr/>
      <dgm:t>
        <a:bodyPr/>
        <a:lstStyle/>
        <a:p>
          <a:r>
            <a:rPr lang="fr-FR" sz="1600" b="1" dirty="0">
              <a:solidFill>
                <a:schemeClr val="tx2"/>
              </a:solidFill>
            </a:rPr>
            <a:t>Maven</a:t>
          </a:r>
          <a:endParaRPr lang="fr-FR" sz="2000" dirty="0"/>
        </a:p>
      </dgm:t>
    </dgm:pt>
    <dgm:pt modelId="{63D586D4-78CD-45AD-A63D-84C3172833DF}" type="parTrans" cxnId="{1CD1DEED-06F2-4411-9F47-9840D984FDA5}">
      <dgm:prSet/>
      <dgm:spPr/>
      <dgm:t>
        <a:bodyPr/>
        <a:lstStyle/>
        <a:p>
          <a:endParaRPr lang="fr-FR"/>
        </a:p>
      </dgm:t>
    </dgm:pt>
    <dgm:pt modelId="{99B677C4-9D56-4027-9FAD-3AB2A55D23AE}" type="sibTrans" cxnId="{1CD1DEED-06F2-4411-9F47-9840D984FDA5}">
      <dgm:prSet/>
      <dgm:spPr/>
      <dgm:t>
        <a:bodyPr/>
        <a:lstStyle/>
        <a:p>
          <a:endParaRPr lang="fr-FR"/>
        </a:p>
      </dgm:t>
    </dgm:pt>
    <dgm:pt modelId="{6C0E1634-C402-4E22-ACCC-8D02694C88C2}">
      <dgm:prSet phldrT="[Texte]" custT="1"/>
      <dgm:spPr/>
      <dgm:t>
        <a:bodyPr/>
        <a:lstStyle/>
        <a:p>
          <a:r>
            <a:rPr lang="fr-FR" sz="1600" b="1" dirty="0" err="1">
              <a:solidFill>
                <a:schemeClr val="tx2"/>
              </a:solidFill>
            </a:rPr>
            <a:t>ElasticSearch</a:t>
          </a:r>
          <a:r>
            <a:rPr lang="fr-FR" sz="1600" b="1" dirty="0">
              <a:solidFill>
                <a:schemeClr val="tx2"/>
              </a:solidFill>
            </a:rPr>
            <a:t> 7,12</a:t>
          </a:r>
          <a:endParaRPr lang="fr-FR" sz="1600" dirty="0"/>
        </a:p>
      </dgm:t>
    </dgm:pt>
    <dgm:pt modelId="{731C222C-0121-4BE0-8FA0-207092402939}" type="parTrans" cxnId="{F9667797-671E-414B-9BD6-86D57421924E}">
      <dgm:prSet/>
      <dgm:spPr/>
      <dgm:t>
        <a:bodyPr/>
        <a:lstStyle/>
        <a:p>
          <a:endParaRPr lang="fr-FR"/>
        </a:p>
      </dgm:t>
    </dgm:pt>
    <dgm:pt modelId="{85F46C2B-9518-4682-A0B7-6391E6F2FA58}" type="sibTrans" cxnId="{F9667797-671E-414B-9BD6-86D57421924E}">
      <dgm:prSet/>
      <dgm:spPr/>
      <dgm:t>
        <a:bodyPr/>
        <a:lstStyle/>
        <a:p>
          <a:endParaRPr lang="fr-FR"/>
        </a:p>
      </dgm:t>
    </dgm:pt>
    <dgm:pt modelId="{80EF14AF-6C8E-4291-9D11-605745A8FC90}">
      <dgm:prSet phldrT="[Texte]" custT="1"/>
      <dgm:spPr/>
      <dgm:t>
        <a:bodyPr/>
        <a:lstStyle/>
        <a:p>
          <a:r>
            <a:rPr lang="fr-FR" sz="1600" b="1" dirty="0" err="1">
              <a:solidFill>
                <a:schemeClr val="tx2"/>
              </a:solidFill>
            </a:rPr>
            <a:t>Angular</a:t>
          </a:r>
          <a:r>
            <a:rPr lang="fr-FR" sz="1600" b="1" dirty="0">
              <a:solidFill>
                <a:schemeClr val="tx2"/>
              </a:solidFill>
            </a:rPr>
            <a:t> 11</a:t>
          </a:r>
          <a:endParaRPr lang="fr-FR" sz="1600" dirty="0"/>
        </a:p>
      </dgm:t>
    </dgm:pt>
    <dgm:pt modelId="{19461068-AAE9-4ABE-8BFE-355CD4A2C5AC}" type="parTrans" cxnId="{72EAB773-7651-4307-BFBB-F4F88F8998CD}">
      <dgm:prSet/>
      <dgm:spPr/>
      <dgm:t>
        <a:bodyPr/>
        <a:lstStyle/>
        <a:p>
          <a:endParaRPr lang="fr-FR"/>
        </a:p>
      </dgm:t>
    </dgm:pt>
    <dgm:pt modelId="{629747CA-A00E-40EA-87BF-35AA5F2A9E55}" type="sibTrans" cxnId="{72EAB773-7651-4307-BFBB-F4F88F8998CD}">
      <dgm:prSet/>
      <dgm:spPr/>
      <dgm:t>
        <a:bodyPr/>
        <a:lstStyle/>
        <a:p>
          <a:endParaRPr lang="fr-FR"/>
        </a:p>
      </dgm:t>
    </dgm:pt>
    <dgm:pt modelId="{2ED69E9C-9AFA-4B6D-B7E7-98467BBE6A2D}">
      <dgm:prSet phldrT="[Texte]" custT="1"/>
      <dgm:spPr/>
      <dgm:t>
        <a:bodyPr/>
        <a:lstStyle/>
        <a:p>
          <a:r>
            <a:rPr lang="fr-FR" sz="1600" b="1" dirty="0">
              <a:solidFill>
                <a:schemeClr val="tx2"/>
              </a:solidFill>
            </a:rPr>
            <a:t>Bootstrap</a:t>
          </a:r>
          <a:endParaRPr lang="fr-FR" sz="1600" dirty="0"/>
        </a:p>
      </dgm:t>
    </dgm:pt>
    <dgm:pt modelId="{9451609C-1539-47BF-91EB-74F3EF21C883}" type="parTrans" cxnId="{E05B1005-34BA-48F4-9784-57D067AE7EDA}">
      <dgm:prSet/>
      <dgm:spPr/>
      <dgm:t>
        <a:bodyPr/>
        <a:lstStyle/>
        <a:p>
          <a:endParaRPr lang="fr-FR"/>
        </a:p>
      </dgm:t>
    </dgm:pt>
    <dgm:pt modelId="{43D3F19B-545C-4642-AE26-3BBBDEA81FE5}" type="sibTrans" cxnId="{E05B1005-34BA-48F4-9784-57D067AE7EDA}">
      <dgm:prSet/>
      <dgm:spPr/>
      <dgm:t>
        <a:bodyPr/>
        <a:lstStyle/>
        <a:p>
          <a:endParaRPr lang="fr-FR"/>
        </a:p>
      </dgm:t>
    </dgm:pt>
    <dgm:pt modelId="{B5D68B06-C1C9-4049-9EA3-90500810AE84}">
      <dgm:prSet phldrT="[Texte]" custT="1"/>
      <dgm:spPr/>
      <dgm:t>
        <a:bodyPr/>
        <a:lstStyle/>
        <a:p>
          <a:r>
            <a:rPr lang="fr-FR" sz="1600" b="1" dirty="0">
              <a:solidFill>
                <a:schemeClr val="tx2"/>
              </a:solidFill>
            </a:rPr>
            <a:t>Azure PostgreSQL 10</a:t>
          </a:r>
          <a:endParaRPr lang="fr-FR" sz="1600" dirty="0"/>
        </a:p>
      </dgm:t>
    </dgm:pt>
    <dgm:pt modelId="{1EA0AF04-60B7-4758-A970-FDA0FE2F9BEC}" type="parTrans" cxnId="{F845CD1B-05BA-40A1-AE7F-3A9A6DE4F6F8}">
      <dgm:prSet/>
      <dgm:spPr/>
      <dgm:t>
        <a:bodyPr/>
        <a:lstStyle/>
        <a:p>
          <a:endParaRPr lang="fr-FR"/>
        </a:p>
      </dgm:t>
    </dgm:pt>
    <dgm:pt modelId="{FD8908A3-A564-4BB1-B256-F13DF184B70A}" type="sibTrans" cxnId="{F845CD1B-05BA-40A1-AE7F-3A9A6DE4F6F8}">
      <dgm:prSet/>
      <dgm:spPr/>
      <dgm:t>
        <a:bodyPr/>
        <a:lstStyle/>
        <a:p>
          <a:endParaRPr lang="fr-FR"/>
        </a:p>
      </dgm:t>
    </dgm:pt>
    <dgm:pt modelId="{13F87E0C-3305-45D2-9F40-7BD535CD7857}">
      <dgm:prSet phldrT="[Texte]" custT="1"/>
      <dgm:spPr/>
      <dgm:t>
        <a:bodyPr/>
        <a:lstStyle/>
        <a:p>
          <a:r>
            <a:rPr lang="fr-FR" sz="1600" b="1" dirty="0">
              <a:solidFill>
                <a:schemeClr val="tx2"/>
              </a:solidFill>
            </a:rPr>
            <a:t>Docker</a:t>
          </a:r>
          <a:endParaRPr lang="fr-FR" sz="2200" dirty="0"/>
        </a:p>
      </dgm:t>
    </dgm:pt>
    <dgm:pt modelId="{C6E97263-D1BD-435D-A628-45C83841159C}" type="parTrans" cxnId="{97C4EF9F-3041-4EF5-BCD0-0F935D09227A}">
      <dgm:prSet/>
      <dgm:spPr/>
      <dgm:t>
        <a:bodyPr/>
        <a:lstStyle/>
        <a:p>
          <a:endParaRPr lang="fr-FR"/>
        </a:p>
      </dgm:t>
    </dgm:pt>
    <dgm:pt modelId="{CD1EFD0B-8A3C-4E3D-91E8-977F97489E7F}" type="sibTrans" cxnId="{97C4EF9F-3041-4EF5-BCD0-0F935D09227A}">
      <dgm:prSet/>
      <dgm:spPr/>
      <dgm:t>
        <a:bodyPr/>
        <a:lstStyle/>
        <a:p>
          <a:endParaRPr lang="fr-FR"/>
        </a:p>
      </dgm:t>
    </dgm:pt>
    <dgm:pt modelId="{C6D234C4-4780-49AF-82B3-57AD133FBF9F}">
      <dgm:prSet phldrT="[Texte]" custT="1"/>
      <dgm:spPr/>
      <dgm:t>
        <a:bodyPr/>
        <a:lstStyle/>
        <a:p>
          <a:r>
            <a:rPr lang="fr-FR" sz="1600" b="1" dirty="0">
              <a:solidFill>
                <a:schemeClr val="tx2"/>
              </a:solidFill>
            </a:rPr>
            <a:t>Azure </a:t>
          </a:r>
          <a:r>
            <a:rPr lang="fr-FR" sz="1600" b="1" dirty="0" err="1">
              <a:solidFill>
                <a:schemeClr val="tx2"/>
              </a:solidFill>
            </a:rPr>
            <a:t>Kubernetes</a:t>
          </a:r>
          <a:r>
            <a:rPr lang="fr-FR" sz="1600" b="1" dirty="0">
              <a:solidFill>
                <a:schemeClr val="tx2"/>
              </a:solidFill>
            </a:rPr>
            <a:t> Services </a:t>
          </a:r>
          <a:endParaRPr lang="fr-FR" sz="1600" dirty="0"/>
        </a:p>
      </dgm:t>
    </dgm:pt>
    <dgm:pt modelId="{741662F0-14D4-49B0-99E8-9A1334DC535D}" type="parTrans" cxnId="{3AAE91D6-E4C9-4D2D-9AC1-0D18F2EECEE6}">
      <dgm:prSet/>
      <dgm:spPr/>
      <dgm:t>
        <a:bodyPr/>
        <a:lstStyle/>
        <a:p>
          <a:endParaRPr lang="fr-FR"/>
        </a:p>
      </dgm:t>
    </dgm:pt>
    <dgm:pt modelId="{A1A830F5-CE13-4D43-9566-260E1C606FBC}" type="sibTrans" cxnId="{3AAE91D6-E4C9-4D2D-9AC1-0D18F2EECEE6}">
      <dgm:prSet/>
      <dgm:spPr/>
      <dgm:t>
        <a:bodyPr/>
        <a:lstStyle/>
        <a:p>
          <a:endParaRPr lang="fr-FR"/>
        </a:p>
      </dgm:t>
    </dgm:pt>
    <dgm:pt modelId="{2EB835EB-EBA8-4EC4-A309-2B4FA9FE6198}" type="pres">
      <dgm:prSet presAssocID="{B35159B6-2759-4DED-A09B-3F2A452E1F9C}" presName="vert0" presStyleCnt="0">
        <dgm:presLayoutVars>
          <dgm:dir/>
          <dgm:animOne val="branch"/>
          <dgm:animLvl val="lvl"/>
        </dgm:presLayoutVars>
      </dgm:prSet>
      <dgm:spPr/>
    </dgm:pt>
    <dgm:pt modelId="{35D5B795-A080-413A-8608-1C25AEC60A80}" type="pres">
      <dgm:prSet presAssocID="{89C75BD4-0AE0-4BC1-8362-939994F8B521}" presName="thickLine" presStyleLbl="alignNode1" presStyleIdx="0" presStyleCnt="1"/>
      <dgm:spPr/>
    </dgm:pt>
    <dgm:pt modelId="{2274A76E-3660-4A07-A85C-6DA112F793A8}" type="pres">
      <dgm:prSet presAssocID="{89C75BD4-0AE0-4BC1-8362-939994F8B521}" presName="horz1" presStyleCnt="0"/>
      <dgm:spPr/>
    </dgm:pt>
    <dgm:pt modelId="{75169B40-ECE5-41B7-BA5F-8E3429DA6EAE}" type="pres">
      <dgm:prSet presAssocID="{89C75BD4-0AE0-4BC1-8362-939994F8B521}" presName="tx1" presStyleLbl="revTx" presStyleIdx="0" presStyleCnt="10" custScaleX="184278"/>
      <dgm:spPr/>
    </dgm:pt>
    <dgm:pt modelId="{5D5079C5-61FF-468C-B180-B1BCC8B24680}" type="pres">
      <dgm:prSet presAssocID="{89C75BD4-0AE0-4BC1-8362-939994F8B521}" presName="vert1" presStyleCnt="0"/>
      <dgm:spPr/>
    </dgm:pt>
    <dgm:pt modelId="{C73BA379-0927-4727-B225-7649DFDF58FD}" type="pres">
      <dgm:prSet presAssocID="{B1470EAD-DC6D-4BD7-A6F7-0DBB60EF5A44}" presName="vertSpace2a" presStyleCnt="0"/>
      <dgm:spPr/>
    </dgm:pt>
    <dgm:pt modelId="{2157EFE7-2331-4220-9294-FA0B4F583ECF}" type="pres">
      <dgm:prSet presAssocID="{B1470EAD-DC6D-4BD7-A6F7-0DBB60EF5A44}" presName="horz2" presStyleCnt="0"/>
      <dgm:spPr/>
    </dgm:pt>
    <dgm:pt modelId="{84F42CDB-7559-42F8-8A02-4813D1C99703}" type="pres">
      <dgm:prSet presAssocID="{B1470EAD-DC6D-4BD7-A6F7-0DBB60EF5A44}" presName="horzSpace2" presStyleCnt="0"/>
      <dgm:spPr/>
    </dgm:pt>
    <dgm:pt modelId="{E39DAAF7-E760-4F98-9500-F71187AE4B47}" type="pres">
      <dgm:prSet presAssocID="{B1470EAD-DC6D-4BD7-A6F7-0DBB60EF5A44}" presName="tx2" presStyleLbl="revTx" presStyleIdx="1" presStyleCnt="10"/>
      <dgm:spPr/>
    </dgm:pt>
    <dgm:pt modelId="{FA3FE421-F5A7-4091-BDAB-6A5B5E6A002F}" type="pres">
      <dgm:prSet presAssocID="{B1470EAD-DC6D-4BD7-A6F7-0DBB60EF5A44}" presName="vert2" presStyleCnt="0"/>
      <dgm:spPr/>
    </dgm:pt>
    <dgm:pt modelId="{03985DF9-09EE-420C-80CE-B84217CD99DB}" type="pres">
      <dgm:prSet presAssocID="{B1470EAD-DC6D-4BD7-A6F7-0DBB60EF5A44}" presName="thinLine2b" presStyleLbl="callout" presStyleIdx="0" presStyleCnt="9"/>
      <dgm:spPr/>
    </dgm:pt>
    <dgm:pt modelId="{78B280FA-0C5A-4F38-A1A9-249260534CE9}" type="pres">
      <dgm:prSet presAssocID="{B1470EAD-DC6D-4BD7-A6F7-0DBB60EF5A44}" presName="vertSpace2b" presStyleCnt="0"/>
      <dgm:spPr/>
    </dgm:pt>
    <dgm:pt modelId="{D2784EEF-A9AC-4C42-BAC4-361C0FC72267}" type="pres">
      <dgm:prSet presAssocID="{4ACC8360-BBAA-469F-AB30-FFE3E6A2B0FB}" presName="horz2" presStyleCnt="0"/>
      <dgm:spPr/>
    </dgm:pt>
    <dgm:pt modelId="{5D30AA6C-EB6C-4870-BA5A-5A592A3DF502}" type="pres">
      <dgm:prSet presAssocID="{4ACC8360-BBAA-469F-AB30-FFE3E6A2B0FB}" presName="horzSpace2" presStyleCnt="0"/>
      <dgm:spPr/>
    </dgm:pt>
    <dgm:pt modelId="{702692EF-7316-4FBC-8321-6EFECDA0D9DD}" type="pres">
      <dgm:prSet presAssocID="{4ACC8360-BBAA-469F-AB30-FFE3E6A2B0FB}" presName="tx2" presStyleLbl="revTx" presStyleIdx="2" presStyleCnt="10"/>
      <dgm:spPr/>
    </dgm:pt>
    <dgm:pt modelId="{77331C69-3848-434E-B183-1D17DE80C8AE}" type="pres">
      <dgm:prSet presAssocID="{4ACC8360-BBAA-469F-AB30-FFE3E6A2B0FB}" presName="vert2" presStyleCnt="0"/>
      <dgm:spPr/>
    </dgm:pt>
    <dgm:pt modelId="{AB2AB4EC-389F-42C3-AFD8-25F7C6897BE2}" type="pres">
      <dgm:prSet presAssocID="{4ACC8360-BBAA-469F-AB30-FFE3E6A2B0FB}" presName="thinLine2b" presStyleLbl="callout" presStyleIdx="1" presStyleCnt="9"/>
      <dgm:spPr/>
    </dgm:pt>
    <dgm:pt modelId="{0D95C3D2-4D95-4284-8D5F-9BADCEDB32E4}" type="pres">
      <dgm:prSet presAssocID="{4ACC8360-BBAA-469F-AB30-FFE3E6A2B0FB}" presName="vertSpace2b" presStyleCnt="0"/>
      <dgm:spPr/>
    </dgm:pt>
    <dgm:pt modelId="{A62362BE-1B5C-403F-8CDE-38324942D716}" type="pres">
      <dgm:prSet presAssocID="{0328F9CC-D634-4CDC-AFB1-A51C75D8C190}" presName="horz2" presStyleCnt="0"/>
      <dgm:spPr/>
    </dgm:pt>
    <dgm:pt modelId="{A6938242-9AC1-4D34-9AEE-2AFB2B8E82FD}" type="pres">
      <dgm:prSet presAssocID="{0328F9CC-D634-4CDC-AFB1-A51C75D8C190}" presName="horzSpace2" presStyleCnt="0"/>
      <dgm:spPr/>
    </dgm:pt>
    <dgm:pt modelId="{B6ED96BA-2E5F-488D-B196-49933EC8629E}" type="pres">
      <dgm:prSet presAssocID="{0328F9CC-D634-4CDC-AFB1-A51C75D8C190}" presName="tx2" presStyleLbl="revTx" presStyleIdx="3" presStyleCnt="10"/>
      <dgm:spPr/>
    </dgm:pt>
    <dgm:pt modelId="{AACAC2BA-5B2D-4AA9-BAB5-321D6CDAEA01}" type="pres">
      <dgm:prSet presAssocID="{0328F9CC-D634-4CDC-AFB1-A51C75D8C190}" presName="vert2" presStyleCnt="0"/>
      <dgm:spPr/>
    </dgm:pt>
    <dgm:pt modelId="{AC53C367-BABC-4B44-B682-9E1A4587720F}" type="pres">
      <dgm:prSet presAssocID="{0328F9CC-D634-4CDC-AFB1-A51C75D8C190}" presName="thinLine2b" presStyleLbl="callout" presStyleIdx="2" presStyleCnt="9"/>
      <dgm:spPr/>
    </dgm:pt>
    <dgm:pt modelId="{FD5F2362-DFBE-46FA-8919-602C72EC5FEC}" type="pres">
      <dgm:prSet presAssocID="{0328F9CC-D634-4CDC-AFB1-A51C75D8C190}" presName="vertSpace2b" presStyleCnt="0"/>
      <dgm:spPr/>
    </dgm:pt>
    <dgm:pt modelId="{A5F88178-984B-4AED-9CBD-A24A38FFADEE}" type="pres">
      <dgm:prSet presAssocID="{6C0E1634-C402-4E22-ACCC-8D02694C88C2}" presName="horz2" presStyleCnt="0"/>
      <dgm:spPr/>
    </dgm:pt>
    <dgm:pt modelId="{F3DE94A6-8B0E-4823-A125-BC9CB30FDEB7}" type="pres">
      <dgm:prSet presAssocID="{6C0E1634-C402-4E22-ACCC-8D02694C88C2}" presName="horzSpace2" presStyleCnt="0"/>
      <dgm:spPr/>
    </dgm:pt>
    <dgm:pt modelId="{D3A8EBFB-4A98-4CE1-B8C0-007E1B9DB61C}" type="pres">
      <dgm:prSet presAssocID="{6C0E1634-C402-4E22-ACCC-8D02694C88C2}" presName="tx2" presStyleLbl="revTx" presStyleIdx="4" presStyleCnt="10"/>
      <dgm:spPr/>
    </dgm:pt>
    <dgm:pt modelId="{94F20D3A-2FC7-4F4C-B436-F8F0E96017FE}" type="pres">
      <dgm:prSet presAssocID="{6C0E1634-C402-4E22-ACCC-8D02694C88C2}" presName="vert2" presStyleCnt="0"/>
      <dgm:spPr/>
    </dgm:pt>
    <dgm:pt modelId="{A697DED2-2DA0-478B-B84F-0ADF7AE4F898}" type="pres">
      <dgm:prSet presAssocID="{6C0E1634-C402-4E22-ACCC-8D02694C88C2}" presName="thinLine2b" presStyleLbl="callout" presStyleIdx="3" presStyleCnt="9"/>
      <dgm:spPr/>
    </dgm:pt>
    <dgm:pt modelId="{40681DCF-9E56-4904-94EC-D2E08585D45A}" type="pres">
      <dgm:prSet presAssocID="{6C0E1634-C402-4E22-ACCC-8D02694C88C2}" presName="vertSpace2b" presStyleCnt="0"/>
      <dgm:spPr/>
    </dgm:pt>
    <dgm:pt modelId="{0BBF1087-DCC6-40F5-B31A-6C337020D28A}" type="pres">
      <dgm:prSet presAssocID="{80EF14AF-6C8E-4291-9D11-605745A8FC90}" presName="horz2" presStyleCnt="0"/>
      <dgm:spPr/>
    </dgm:pt>
    <dgm:pt modelId="{F0834CF1-57AF-4C7F-9109-FB701845BBB6}" type="pres">
      <dgm:prSet presAssocID="{80EF14AF-6C8E-4291-9D11-605745A8FC90}" presName="horzSpace2" presStyleCnt="0"/>
      <dgm:spPr/>
    </dgm:pt>
    <dgm:pt modelId="{105008EA-7BA6-4549-BEC5-D7FDAE79FCA8}" type="pres">
      <dgm:prSet presAssocID="{80EF14AF-6C8E-4291-9D11-605745A8FC90}" presName="tx2" presStyleLbl="revTx" presStyleIdx="5" presStyleCnt="10"/>
      <dgm:spPr/>
    </dgm:pt>
    <dgm:pt modelId="{289718AD-1281-4E36-A4D1-4F63840D87B1}" type="pres">
      <dgm:prSet presAssocID="{80EF14AF-6C8E-4291-9D11-605745A8FC90}" presName="vert2" presStyleCnt="0"/>
      <dgm:spPr/>
    </dgm:pt>
    <dgm:pt modelId="{AA1DDD3C-AFAE-47B7-A2F1-09F31DD94E31}" type="pres">
      <dgm:prSet presAssocID="{80EF14AF-6C8E-4291-9D11-605745A8FC90}" presName="thinLine2b" presStyleLbl="callout" presStyleIdx="4" presStyleCnt="9"/>
      <dgm:spPr/>
    </dgm:pt>
    <dgm:pt modelId="{DEFBA35D-1977-467A-A5DF-6A0D48B07470}" type="pres">
      <dgm:prSet presAssocID="{80EF14AF-6C8E-4291-9D11-605745A8FC90}" presName="vertSpace2b" presStyleCnt="0"/>
      <dgm:spPr/>
    </dgm:pt>
    <dgm:pt modelId="{40C2DFA5-9CE0-47C2-8C44-664BEBDFA7B5}" type="pres">
      <dgm:prSet presAssocID="{2ED69E9C-9AFA-4B6D-B7E7-98467BBE6A2D}" presName="horz2" presStyleCnt="0"/>
      <dgm:spPr/>
    </dgm:pt>
    <dgm:pt modelId="{AAA2ACF1-DACF-40C6-BE8E-7586C0110162}" type="pres">
      <dgm:prSet presAssocID="{2ED69E9C-9AFA-4B6D-B7E7-98467BBE6A2D}" presName="horzSpace2" presStyleCnt="0"/>
      <dgm:spPr/>
    </dgm:pt>
    <dgm:pt modelId="{54CACBF9-FC05-48CA-9C40-3037454259AE}" type="pres">
      <dgm:prSet presAssocID="{2ED69E9C-9AFA-4B6D-B7E7-98467BBE6A2D}" presName="tx2" presStyleLbl="revTx" presStyleIdx="6" presStyleCnt="10"/>
      <dgm:spPr/>
    </dgm:pt>
    <dgm:pt modelId="{4E8147AC-B3DD-4782-8937-BD0829C33F04}" type="pres">
      <dgm:prSet presAssocID="{2ED69E9C-9AFA-4B6D-B7E7-98467BBE6A2D}" presName="vert2" presStyleCnt="0"/>
      <dgm:spPr/>
    </dgm:pt>
    <dgm:pt modelId="{2A76F9DE-0CF8-4696-866D-6AEA95A88834}" type="pres">
      <dgm:prSet presAssocID="{2ED69E9C-9AFA-4B6D-B7E7-98467BBE6A2D}" presName="thinLine2b" presStyleLbl="callout" presStyleIdx="5" presStyleCnt="9"/>
      <dgm:spPr/>
    </dgm:pt>
    <dgm:pt modelId="{7ABE0121-7AE3-4BA9-A2FC-68F76519DF6E}" type="pres">
      <dgm:prSet presAssocID="{2ED69E9C-9AFA-4B6D-B7E7-98467BBE6A2D}" presName="vertSpace2b" presStyleCnt="0"/>
      <dgm:spPr/>
    </dgm:pt>
    <dgm:pt modelId="{C390C004-73D9-4022-B2E3-C071B71E27DB}" type="pres">
      <dgm:prSet presAssocID="{B5D68B06-C1C9-4049-9EA3-90500810AE84}" presName="horz2" presStyleCnt="0"/>
      <dgm:spPr/>
    </dgm:pt>
    <dgm:pt modelId="{715906C0-6260-4827-AED8-8F8DBC713A44}" type="pres">
      <dgm:prSet presAssocID="{B5D68B06-C1C9-4049-9EA3-90500810AE84}" presName="horzSpace2" presStyleCnt="0"/>
      <dgm:spPr/>
    </dgm:pt>
    <dgm:pt modelId="{08464675-5584-418C-BBB1-2EEDC17F7C23}" type="pres">
      <dgm:prSet presAssocID="{B5D68B06-C1C9-4049-9EA3-90500810AE84}" presName="tx2" presStyleLbl="revTx" presStyleIdx="7" presStyleCnt="10"/>
      <dgm:spPr/>
    </dgm:pt>
    <dgm:pt modelId="{4E482E53-E21D-4ADE-A424-3E0B8B5177E3}" type="pres">
      <dgm:prSet presAssocID="{B5D68B06-C1C9-4049-9EA3-90500810AE84}" presName="vert2" presStyleCnt="0"/>
      <dgm:spPr/>
    </dgm:pt>
    <dgm:pt modelId="{0F73DF6C-2711-4660-ADFE-BD6054E447CC}" type="pres">
      <dgm:prSet presAssocID="{B5D68B06-C1C9-4049-9EA3-90500810AE84}" presName="thinLine2b" presStyleLbl="callout" presStyleIdx="6" presStyleCnt="9"/>
      <dgm:spPr/>
    </dgm:pt>
    <dgm:pt modelId="{47801280-C0C4-457D-9C99-2A8D3B81DE93}" type="pres">
      <dgm:prSet presAssocID="{B5D68B06-C1C9-4049-9EA3-90500810AE84}" presName="vertSpace2b" presStyleCnt="0"/>
      <dgm:spPr/>
    </dgm:pt>
    <dgm:pt modelId="{243B7B94-CCAD-469D-8181-72C697E90F9C}" type="pres">
      <dgm:prSet presAssocID="{13F87E0C-3305-45D2-9F40-7BD535CD7857}" presName="horz2" presStyleCnt="0"/>
      <dgm:spPr/>
    </dgm:pt>
    <dgm:pt modelId="{D8CD1F4C-F123-49DF-8FF7-F5110C23E9C2}" type="pres">
      <dgm:prSet presAssocID="{13F87E0C-3305-45D2-9F40-7BD535CD7857}" presName="horzSpace2" presStyleCnt="0"/>
      <dgm:spPr/>
    </dgm:pt>
    <dgm:pt modelId="{26C586D6-6C0D-426F-9809-3D043EA3899A}" type="pres">
      <dgm:prSet presAssocID="{13F87E0C-3305-45D2-9F40-7BD535CD7857}" presName="tx2" presStyleLbl="revTx" presStyleIdx="8" presStyleCnt="10"/>
      <dgm:spPr/>
    </dgm:pt>
    <dgm:pt modelId="{0786E721-61F6-46CE-89F7-506EF993FC3F}" type="pres">
      <dgm:prSet presAssocID="{13F87E0C-3305-45D2-9F40-7BD535CD7857}" presName="vert2" presStyleCnt="0"/>
      <dgm:spPr/>
    </dgm:pt>
    <dgm:pt modelId="{9AB14ECA-ABC3-4FE5-9CD5-6D57F5938D02}" type="pres">
      <dgm:prSet presAssocID="{13F87E0C-3305-45D2-9F40-7BD535CD7857}" presName="thinLine2b" presStyleLbl="callout" presStyleIdx="7" presStyleCnt="9"/>
      <dgm:spPr/>
    </dgm:pt>
    <dgm:pt modelId="{5071A5E3-FF7D-488D-AB93-F58967F8A89A}" type="pres">
      <dgm:prSet presAssocID="{13F87E0C-3305-45D2-9F40-7BD535CD7857}" presName="vertSpace2b" presStyleCnt="0"/>
      <dgm:spPr/>
    </dgm:pt>
    <dgm:pt modelId="{96BABFA2-5C3F-4D4C-991E-0C41E2A3669B}" type="pres">
      <dgm:prSet presAssocID="{C6D234C4-4780-49AF-82B3-57AD133FBF9F}" presName="horz2" presStyleCnt="0"/>
      <dgm:spPr/>
    </dgm:pt>
    <dgm:pt modelId="{7E286B74-0DC8-4450-9613-7834EBDCC20A}" type="pres">
      <dgm:prSet presAssocID="{C6D234C4-4780-49AF-82B3-57AD133FBF9F}" presName="horzSpace2" presStyleCnt="0"/>
      <dgm:spPr/>
    </dgm:pt>
    <dgm:pt modelId="{6EF739EE-FFA6-4355-8BD5-F4A734186BA0}" type="pres">
      <dgm:prSet presAssocID="{C6D234C4-4780-49AF-82B3-57AD133FBF9F}" presName="tx2" presStyleLbl="revTx" presStyleIdx="9" presStyleCnt="10"/>
      <dgm:spPr/>
    </dgm:pt>
    <dgm:pt modelId="{59588650-082F-407D-9B4D-9890FCE0C592}" type="pres">
      <dgm:prSet presAssocID="{C6D234C4-4780-49AF-82B3-57AD133FBF9F}" presName="vert2" presStyleCnt="0"/>
      <dgm:spPr/>
    </dgm:pt>
    <dgm:pt modelId="{7A9CED7E-1D89-4049-84B9-6C4DB90E4E57}" type="pres">
      <dgm:prSet presAssocID="{C6D234C4-4780-49AF-82B3-57AD133FBF9F}" presName="thinLine2b" presStyleLbl="callout" presStyleIdx="8" presStyleCnt="9"/>
      <dgm:spPr/>
    </dgm:pt>
    <dgm:pt modelId="{07F29CE7-C1B2-4F69-8E17-653969E1F626}" type="pres">
      <dgm:prSet presAssocID="{C6D234C4-4780-49AF-82B3-57AD133FBF9F}" presName="vertSpace2b" presStyleCnt="0"/>
      <dgm:spPr/>
    </dgm:pt>
  </dgm:ptLst>
  <dgm:cxnLst>
    <dgm:cxn modelId="{F2B5CE01-0093-44BF-91C1-0375D5E28ECA}" type="presOf" srcId="{B35159B6-2759-4DED-A09B-3F2A452E1F9C}" destId="{2EB835EB-EBA8-4EC4-A309-2B4FA9FE6198}" srcOrd="0" destOrd="0" presId="urn:microsoft.com/office/officeart/2008/layout/LinedList"/>
    <dgm:cxn modelId="{E05B1005-34BA-48F4-9784-57D067AE7EDA}" srcId="{89C75BD4-0AE0-4BC1-8362-939994F8B521}" destId="{2ED69E9C-9AFA-4B6D-B7E7-98467BBE6A2D}" srcOrd="5" destOrd="0" parTransId="{9451609C-1539-47BF-91EB-74F3EF21C883}" sibTransId="{43D3F19B-545C-4642-AE26-3BBBDEA81FE5}"/>
    <dgm:cxn modelId="{A858BE14-B20D-48F6-8A72-731A01BB03B1}" type="presOf" srcId="{80EF14AF-6C8E-4291-9D11-605745A8FC90}" destId="{105008EA-7BA6-4549-BEC5-D7FDAE79FCA8}" srcOrd="0" destOrd="0" presId="urn:microsoft.com/office/officeart/2008/layout/LinedList"/>
    <dgm:cxn modelId="{F845CD1B-05BA-40A1-AE7F-3A9A6DE4F6F8}" srcId="{89C75BD4-0AE0-4BC1-8362-939994F8B521}" destId="{B5D68B06-C1C9-4049-9EA3-90500810AE84}" srcOrd="6" destOrd="0" parTransId="{1EA0AF04-60B7-4758-A970-FDA0FE2F9BEC}" sibTransId="{FD8908A3-A564-4BB1-B256-F13DF184B70A}"/>
    <dgm:cxn modelId="{0FFAC065-D6B6-43D4-A29E-45453838B0F3}" type="presOf" srcId="{13F87E0C-3305-45D2-9F40-7BD535CD7857}" destId="{26C586D6-6C0D-426F-9809-3D043EA3899A}" srcOrd="0" destOrd="0" presId="urn:microsoft.com/office/officeart/2008/layout/LinedList"/>
    <dgm:cxn modelId="{D5A93A69-C0DF-4037-B022-91713385443E}" type="presOf" srcId="{2ED69E9C-9AFA-4B6D-B7E7-98467BBE6A2D}" destId="{54CACBF9-FC05-48CA-9C40-3037454259AE}" srcOrd="0" destOrd="0" presId="urn:microsoft.com/office/officeart/2008/layout/LinedList"/>
    <dgm:cxn modelId="{72EAB773-7651-4307-BFBB-F4F88F8998CD}" srcId="{89C75BD4-0AE0-4BC1-8362-939994F8B521}" destId="{80EF14AF-6C8E-4291-9D11-605745A8FC90}" srcOrd="4" destOrd="0" parTransId="{19461068-AAE9-4ABE-8BFE-355CD4A2C5AC}" sibTransId="{629747CA-A00E-40EA-87BF-35AA5F2A9E55}"/>
    <dgm:cxn modelId="{8CB4B880-09F7-4694-827B-33A5B7A649DA}" type="presOf" srcId="{B5D68B06-C1C9-4049-9EA3-90500810AE84}" destId="{08464675-5584-418C-BBB1-2EEDC17F7C23}" srcOrd="0" destOrd="0" presId="urn:microsoft.com/office/officeart/2008/layout/LinedList"/>
    <dgm:cxn modelId="{EBDBCA84-9089-46E4-A678-EFCF13E5161D}" type="presOf" srcId="{89C75BD4-0AE0-4BC1-8362-939994F8B521}" destId="{75169B40-ECE5-41B7-BA5F-8E3429DA6EAE}" srcOrd="0" destOrd="0" presId="urn:microsoft.com/office/officeart/2008/layout/LinedList"/>
    <dgm:cxn modelId="{0829F891-5D85-420A-83E0-38E508ADC24A}" type="presOf" srcId="{4ACC8360-BBAA-469F-AB30-FFE3E6A2B0FB}" destId="{702692EF-7316-4FBC-8321-6EFECDA0D9DD}" srcOrd="0" destOrd="0" presId="urn:microsoft.com/office/officeart/2008/layout/LinedList"/>
    <dgm:cxn modelId="{F15C1296-CF10-400D-8D60-0095481754E0}" srcId="{89C75BD4-0AE0-4BC1-8362-939994F8B521}" destId="{B1470EAD-DC6D-4BD7-A6F7-0DBB60EF5A44}" srcOrd="0" destOrd="0" parTransId="{17562937-A9E0-40D7-AF9C-6ACFDA9293FA}" sibTransId="{24AC53EA-13AD-4B89-8F13-D4E4020376E1}"/>
    <dgm:cxn modelId="{F9667797-671E-414B-9BD6-86D57421924E}" srcId="{89C75BD4-0AE0-4BC1-8362-939994F8B521}" destId="{6C0E1634-C402-4E22-ACCC-8D02694C88C2}" srcOrd="3" destOrd="0" parTransId="{731C222C-0121-4BE0-8FA0-207092402939}" sibTransId="{85F46C2B-9518-4682-A0B7-6391E6F2FA58}"/>
    <dgm:cxn modelId="{97C4EF9F-3041-4EF5-BCD0-0F935D09227A}" srcId="{89C75BD4-0AE0-4BC1-8362-939994F8B521}" destId="{13F87E0C-3305-45D2-9F40-7BD535CD7857}" srcOrd="7" destOrd="0" parTransId="{C6E97263-D1BD-435D-A628-45C83841159C}" sibTransId="{CD1EFD0B-8A3C-4E3D-91E8-977F97489E7F}"/>
    <dgm:cxn modelId="{B53E21AE-12CB-444F-885F-9784652B773B}" type="presOf" srcId="{B1470EAD-DC6D-4BD7-A6F7-0DBB60EF5A44}" destId="{E39DAAF7-E760-4F98-9500-F71187AE4B47}" srcOrd="0" destOrd="0" presId="urn:microsoft.com/office/officeart/2008/layout/LinedList"/>
    <dgm:cxn modelId="{38D3CAB8-0329-41BE-90E5-5782F9931DE5}" type="presOf" srcId="{C6D234C4-4780-49AF-82B3-57AD133FBF9F}" destId="{6EF739EE-FFA6-4355-8BD5-F4A734186BA0}" srcOrd="0" destOrd="0" presId="urn:microsoft.com/office/officeart/2008/layout/LinedList"/>
    <dgm:cxn modelId="{6E7A70C5-34F7-4281-B0FD-87A0998D8DCF}" srcId="{89C75BD4-0AE0-4BC1-8362-939994F8B521}" destId="{4ACC8360-BBAA-469F-AB30-FFE3E6A2B0FB}" srcOrd="1" destOrd="0" parTransId="{A3B340D0-AF0D-4E48-A682-91F9FF615BCD}" sibTransId="{C57CA316-28F7-411A-B0B4-0D1E1C3A7287}"/>
    <dgm:cxn modelId="{3AAE91D6-E4C9-4D2D-9AC1-0D18F2EECEE6}" srcId="{89C75BD4-0AE0-4BC1-8362-939994F8B521}" destId="{C6D234C4-4780-49AF-82B3-57AD133FBF9F}" srcOrd="8" destOrd="0" parTransId="{741662F0-14D4-49B0-99E8-9A1334DC535D}" sibTransId="{A1A830F5-CE13-4D43-9566-260E1C606FBC}"/>
    <dgm:cxn modelId="{732B98DA-5011-44F3-9EF9-7F7F235D4E7D}" type="presOf" srcId="{6C0E1634-C402-4E22-ACCC-8D02694C88C2}" destId="{D3A8EBFB-4A98-4CE1-B8C0-007E1B9DB61C}" srcOrd="0" destOrd="0" presId="urn:microsoft.com/office/officeart/2008/layout/LinedList"/>
    <dgm:cxn modelId="{B61B3CE8-116B-432B-A42A-DA22A64DB10B}" srcId="{B35159B6-2759-4DED-A09B-3F2A452E1F9C}" destId="{89C75BD4-0AE0-4BC1-8362-939994F8B521}" srcOrd="0" destOrd="0" parTransId="{8EEC2183-3EC6-4D67-8245-08AFF534528A}" sibTransId="{3E859EAA-1A22-4B4C-A9D9-27693294BD69}"/>
    <dgm:cxn modelId="{1CD1DEED-06F2-4411-9F47-9840D984FDA5}" srcId="{89C75BD4-0AE0-4BC1-8362-939994F8B521}" destId="{0328F9CC-D634-4CDC-AFB1-A51C75D8C190}" srcOrd="2" destOrd="0" parTransId="{63D586D4-78CD-45AD-A63D-84C3172833DF}" sibTransId="{99B677C4-9D56-4027-9FAD-3AB2A55D23AE}"/>
    <dgm:cxn modelId="{6E7FEDFE-C38F-4922-8E14-2AC8DDCEF509}" type="presOf" srcId="{0328F9CC-D634-4CDC-AFB1-A51C75D8C190}" destId="{B6ED96BA-2E5F-488D-B196-49933EC8629E}" srcOrd="0" destOrd="0" presId="urn:microsoft.com/office/officeart/2008/layout/LinedList"/>
    <dgm:cxn modelId="{2C80E8DB-D893-4DD5-9EFE-307097EF8EB7}" type="presParOf" srcId="{2EB835EB-EBA8-4EC4-A309-2B4FA9FE6198}" destId="{35D5B795-A080-413A-8608-1C25AEC60A80}" srcOrd="0" destOrd="0" presId="urn:microsoft.com/office/officeart/2008/layout/LinedList"/>
    <dgm:cxn modelId="{1524BC29-8292-4E09-B5E6-32094DD77FAF}" type="presParOf" srcId="{2EB835EB-EBA8-4EC4-A309-2B4FA9FE6198}" destId="{2274A76E-3660-4A07-A85C-6DA112F793A8}" srcOrd="1" destOrd="0" presId="urn:microsoft.com/office/officeart/2008/layout/LinedList"/>
    <dgm:cxn modelId="{A0E8CAE8-663F-45F1-893A-646753F07381}" type="presParOf" srcId="{2274A76E-3660-4A07-A85C-6DA112F793A8}" destId="{75169B40-ECE5-41B7-BA5F-8E3429DA6EAE}" srcOrd="0" destOrd="0" presId="urn:microsoft.com/office/officeart/2008/layout/LinedList"/>
    <dgm:cxn modelId="{E5B626D2-4CE3-43E4-AF09-EC26D4188CC5}" type="presParOf" srcId="{2274A76E-3660-4A07-A85C-6DA112F793A8}" destId="{5D5079C5-61FF-468C-B180-B1BCC8B24680}" srcOrd="1" destOrd="0" presId="urn:microsoft.com/office/officeart/2008/layout/LinedList"/>
    <dgm:cxn modelId="{A335F886-F546-4B65-84B7-C7F708DC2E34}" type="presParOf" srcId="{5D5079C5-61FF-468C-B180-B1BCC8B24680}" destId="{C73BA379-0927-4727-B225-7649DFDF58FD}" srcOrd="0" destOrd="0" presId="urn:microsoft.com/office/officeart/2008/layout/LinedList"/>
    <dgm:cxn modelId="{1FD61C46-9485-42DF-A3E2-683FB1DB9F0C}" type="presParOf" srcId="{5D5079C5-61FF-468C-B180-B1BCC8B24680}" destId="{2157EFE7-2331-4220-9294-FA0B4F583ECF}" srcOrd="1" destOrd="0" presId="urn:microsoft.com/office/officeart/2008/layout/LinedList"/>
    <dgm:cxn modelId="{66920837-A56B-477A-B2C5-4F378629BBD6}" type="presParOf" srcId="{2157EFE7-2331-4220-9294-FA0B4F583ECF}" destId="{84F42CDB-7559-42F8-8A02-4813D1C99703}" srcOrd="0" destOrd="0" presId="urn:microsoft.com/office/officeart/2008/layout/LinedList"/>
    <dgm:cxn modelId="{78412BFE-9397-40FE-923D-A33B2B8F1842}" type="presParOf" srcId="{2157EFE7-2331-4220-9294-FA0B4F583ECF}" destId="{E39DAAF7-E760-4F98-9500-F71187AE4B47}" srcOrd="1" destOrd="0" presId="urn:microsoft.com/office/officeart/2008/layout/LinedList"/>
    <dgm:cxn modelId="{906C190A-0AC3-4F05-9629-057F8EA168EC}" type="presParOf" srcId="{2157EFE7-2331-4220-9294-FA0B4F583ECF}" destId="{FA3FE421-F5A7-4091-BDAB-6A5B5E6A002F}" srcOrd="2" destOrd="0" presId="urn:microsoft.com/office/officeart/2008/layout/LinedList"/>
    <dgm:cxn modelId="{2988CC70-E68B-4315-8074-54FCEA4CEBD1}" type="presParOf" srcId="{5D5079C5-61FF-468C-B180-B1BCC8B24680}" destId="{03985DF9-09EE-420C-80CE-B84217CD99DB}" srcOrd="2" destOrd="0" presId="urn:microsoft.com/office/officeart/2008/layout/LinedList"/>
    <dgm:cxn modelId="{1E3C59A1-C0AE-44EB-AFC6-47DCD5DAC328}" type="presParOf" srcId="{5D5079C5-61FF-468C-B180-B1BCC8B24680}" destId="{78B280FA-0C5A-4F38-A1A9-249260534CE9}" srcOrd="3" destOrd="0" presId="urn:microsoft.com/office/officeart/2008/layout/LinedList"/>
    <dgm:cxn modelId="{18C82AEC-EAD0-47BA-A73F-0ECB93538190}" type="presParOf" srcId="{5D5079C5-61FF-468C-B180-B1BCC8B24680}" destId="{D2784EEF-A9AC-4C42-BAC4-361C0FC72267}" srcOrd="4" destOrd="0" presId="urn:microsoft.com/office/officeart/2008/layout/LinedList"/>
    <dgm:cxn modelId="{5C75E8CF-839C-48E0-B7ED-1B9D69A9E1B6}" type="presParOf" srcId="{D2784EEF-A9AC-4C42-BAC4-361C0FC72267}" destId="{5D30AA6C-EB6C-4870-BA5A-5A592A3DF502}" srcOrd="0" destOrd="0" presId="urn:microsoft.com/office/officeart/2008/layout/LinedList"/>
    <dgm:cxn modelId="{9B2AAF76-1AA6-41F6-9C62-99BC36D36C94}" type="presParOf" srcId="{D2784EEF-A9AC-4C42-BAC4-361C0FC72267}" destId="{702692EF-7316-4FBC-8321-6EFECDA0D9DD}" srcOrd="1" destOrd="0" presId="urn:microsoft.com/office/officeart/2008/layout/LinedList"/>
    <dgm:cxn modelId="{ACFCCD33-FC66-4717-BFCA-B5333E8BEAD2}" type="presParOf" srcId="{D2784EEF-A9AC-4C42-BAC4-361C0FC72267}" destId="{77331C69-3848-434E-B183-1D17DE80C8AE}" srcOrd="2" destOrd="0" presId="urn:microsoft.com/office/officeart/2008/layout/LinedList"/>
    <dgm:cxn modelId="{9C609828-DE31-4440-9F1C-3EF38C03F0FF}" type="presParOf" srcId="{5D5079C5-61FF-468C-B180-B1BCC8B24680}" destId="{AB2AB4EC-389F-42C3-AFD8-25F7C6897BE2}" srcOrd="5" destOrd="0" presId="urn:microsoft.com/office/officeart/2008/layout/LinedList"/>
    <dgm:cxn modelId="{13F30BB3-B5BC-431D-8AAE-42AC5AAEB416}" type="presParOf" srcId="{5D5079C5-61FF-468C-B180-B1BCC8B24680}" destId="{0D95C3D2-4D95-4284-8D5F-9BADCEDB32E4}" srcOrd="6" destOrd="0" presId="urn:microsoft.com/office/officeart/2008/layout/LinedList"/>
    <dgm:cxn modelId="{41341D0E-9962-4110-A654-E363EFFD3C9F}" type="presParOf" srcId="{5D5079C5-61FF-468C-B180-B1BCC8B24680}" destId="{A62362BE-1B5C-403F-8CDE-38324942D716}" srcOrd="7" destOrd="0" presId="urn:microsoft.com/office/officeart/2008/layout/LinedList"/>
    <dgm:cxn modelId="{99964460-C2A7-49B8-8FBA-D2838AE1FFC3}" type="presParOf" srcId="{A62362BE-1B5C-403F-8CDE-38324942D716}" destId="{A6938242-9AC1-4D34-9AEE-2AFB2B8E82FD}" srcOrd="0" destOrd="0" presId="urn:microsoft.com/office/officeart/2008/layout/LinedList"/>
    <dgm:cxn modelId="{7EBAD8D1-596F-48C5-81AE-947E3B3E2B55}" type="presParOf" srcId="{A62362BE-1B5C-403F-8CDE-38324942D716}" destId="{B6ED96BA-2E5F-488D-B196-49933EC8629E}" srcOrd="1" destOrd="0" presId="urn:microsoft.com/office/officeart/2008/layout/LinedList"/>
    <dgm:cxn modelId="{29287708-86EB-4C2A-8162-613627C1E177}" type="presParOf" srcId="{A62362BE-1B5C-403F-8CDE-38324942D716}" destId="{AACAC2BA-5B2D-4AA9-BAB5-321D6CDAEA01}" srcOrd="2" destOrd="0" presId="urn:microsoft.com/office/officeart/2008/layout/LinedList"/>
    <dgm:cxn modelId="{17590EDC-FD6B-4243-B888-3C8AEAD90A1D}" type="presParOf" srcId="{5D5079C5-61FF-468C-B180-B1BCC8B24680}" destId="{AC53C367-BABC-4B44-B682-9E1A4587720F}" srcOrd="8" destOrd="0" presId="urn:microsoft.com/office/officeart/2008/layout/LinedList"/>
    <dgm:cxn modelId="{022335D2-B332-4B57-A413-E3E9621CD5DE}" type="presParOf" srcId="{5D5079C5-61FF-468C-B180-B1BCC8B24680}" destId="{FD5F2362-DFBE-46FA-8919-602C72EC5FEC}" srcOrd="9" destOrd="0" presId="urn:microsoft.com/office/officeart/2008/layout/LinedList"/>
    <dgm:cxn modelId="{839BBFBB-66F4-4009-8F77-8923A35CAB12}" type="presParOf" srcId="{5D5079C5-61FF-468C-B180-B1BCC8B24680}" destId="{A5F88178-984B-4AED-9CBD-A24A38FFADEE}" srcOrd="10" destOrd="0" presId="urn:microsoft.com/office/officeart/2008/layout/LinedList"/>
    <dgm:cxn modelId="{E31D2E51-27A5-49FC-8FFA-73C19AA6BA30}" type="presParOf" srcId="{A5F88178-984B-4AED-9CBD-A24A38FFADEE}" destId="{F3DE94A6-8B0E-4823-A125-BC9CB30FDEB7}" srcOrd="0" destOrd="0" presId="urn:microsoft.com/office/officeart/2008/layout/LinedList"/>
    <dgm:cxn modelId="{9FC0187A-CEDA-4D36-8EE2-C2FB50233991}" type="presParOf" srcId="{A5F88178-984B-4AED-9CBD-A24A38FFADEE}" destId="{D3A8EBFB-4A98-4CE1-B8C0-007E1B9DB61C}" srcOrd="1" destOrd="0" presId="urn:microsoft.com/office/officeart/2008/layout/LinedList"/>
    <dgm:cxn modelId="{5FD4EE4C-08AF-4594-ACA2-FC591DEB83E8}" type="presParOf" srcId="{A5F88178-984B-4AED-9CBD-A24A38FFADEE}" destId="{94F20D3A-2FC7-4F4C-B436-F8F0E96017FE}" srcOrd="2" destOrd="0" presId="urn:microsoft.com/office/officeart/2008/layout/LinedList"/>
    <dgm:cxn modelId="{A9094F35-8022-428E-A785-0F5A211F98FF}" type="presParOf" srcId="{5D5079C5-61FF-468C-B180-B1BCC8B24680}" destId="{A697DED2-2DA0-478B-B84F-0ADF7AE4F898}" srcOrd="11" destOrd="0" presId="urn:microsoft.com/office/officeart/2008/layout/LinedList"/>
    <dgm:cxn modelId="{B16417FD-18B7-4FEE-BCE0-340C21AD4D0C}" type="presParOf" srcId="{5D5079C5-61FF-468C-B180-B1BCC8B24680}" destId="{40681DCF-9E56-4904-94EC-D2E08585D45A}" srcOrd="12" destOrd="0" presId="urn:microsoft.com/office/officeart/2008/layout/LinedList"/>
    <dgm:cxn modelId="{10D975AC-BA73-4953-B914-29C111AFC596}" type="presParOf" srcId="{5D5079C5-61FF-468C-B180-B1BCC8B24680}" destId="{0BBF1087-DCC6-40F5-B31A-6C337020D28A}" srcOrd="13" destOrd="0" presId="urn:microsoft.com/office/officeart/2008/layout/LinedList"/>
    <dgm:cxn modelId="{2D392C50-2AD2-4946-9612-2D0F1E8AC355}" type="presParOf" srcId="{0BBF1087-DCC6-40F5-B31A-6C337020D28A}" destId="{F0834CF1-57AF-4C7F-9109-FB701845BBB6}" srcOrd="0" destOrd="0" presId="urn:microsoft.com/office/officeart/2008/layout/LinedList"/>
    <dgm:cxn modelId="{6ED9EA13-031C-4A8E-841E-280EB5DF7C0F}" type="presParOf" srcId="{0BBF1087-DCC6-40F5-B31A-6C337020D28A}" destId="{105008EA-7BA6-4549-BEC5-D7FDAE79FCA8}" srcOrd="1" destOrd="0" presId="urn:microsoft.com/office/officeart/2008/layout/LinedList"/>
    <dgm:cxn modelId="{9EE00290-19F8-49B5-BD16-9BEF8505612B}" type="presParOf" srcId="{0BBF1087-DCC6-40F5-B31A-6C337020D28A}" destId="{289718AD-1281-4E36-A4D1-4F63840D87B1}" srcOrd="2" destOrd="0" presId="urn:microsoft.com/office/officeart/2008/layout/LinedList"/>
    <dgm:cxn modelId="{CE84C717-353D-49ED-A335-45E6E19253F4}" type="presParOf" srcId="{5D5079C5-61FF-468C-B180-B1BCC8B24680}" destId="{AA1DDD3C-AFAE-47B7-A2F1-09F31DD94E31}" srcOrd="14" destOrd="0" presId="urn:microsoft.com/office/officeart/2008/layout/LinedList"/>
    <dgm:cxn modelId="{B8C8F09C-1449-4027-857A-A4F69256DC98}" type="presParOf" srcId="{5D5079C5-61FF-468C-B180-B1BCC8B24680}" destId="{DEFBA35D-1977-467A-A5DF-6A0D48B07470}" srcOrd="15" destOrd="0" presId="urn:microsoft.com/office/officeart/2008/layout/LinedList"/>
    <dgm:cxn modelId="{2A3D7243-9A31-482A-9911-9F23B1D5C5DD}" type="presParOf" srcId="{5D5079C5-61FF-468C-B180-B1BCC8B24680}" destId="{40C2DFA5-9CE0-47C2-8C44-664BEBDFA7B5}" srcOrd="16" destOrd="0" presId="urn:microsoft.com/office/officeart/2008/layout/LinedList"/>
    <dgm:cxn modelId="{EEFBF28D-B20A-462C-8F48-5EC88F4D2F2E}" type="presParOf" srcId="{40C2DFA5-9CE0-47C2-8C44-664BEBDFA7B5}" destId="{AAA2ACF1-DACF-40C6-BE8E-7586C0110162}" srcOrd="0" destOrd="0" presId="urn:microsoft.com/office/officeart/2008/layout/LinedList"/>
    <dgm:cxn modelId="{A366F6AA-5F85-4064-8602-4CD83DA26466}" type="presParOf" srcId="{40C2DFA5-9CE0-47C2-8C44-664BEBDFA7B5}" destId="{54CACBF9-FC05-48CA-9C40-3037454259AE}" srcOrd="1" destOrd="0" presId="urn:microsoft.com/office/officeart/2008/layout/LinedList"/>
    <dgm:cxn modelId="{8DD6B791-EDA5-4D50-B056-465DD0D7FB7C}" type="presParOf" srcId="{40C2DFA5-9CE0-47C2-8C44-664BEBDFA7B5}" destId="{4E8147AC-B3DD-4782-8937-BD0829C33F04}" srcOrd="2" destOrd="0" presId="urn:microsoft.com/office/officeart/2008/layout/LinedList"/>
    <dgm:cxn modelId="{402CBA9D-2B59-45BF-84E7-B05CFA4F5F27}" type="presParOf" srcId="{5D5079C5-61FF-468C-B180-B1BCC8B24680}" destId="{2A76F9DE-0CF8-4696-866D-6AEA95A88834}" srcOrd="17" destOrd="0" presId="urn:microsoft.com/office/officeart/2008/layout/LinedList"/>
    <dgm:cxn modelId="{EDE716F6-CC8D-49DD-8D0E-644DFA647B5C}" type="presParOf" srcId="{5D5079C5-61FF-468C-B180-B1BCC8B24680}" destId="{7ABE0121-7AE3-4BA9-A2FC-68F76519DF6E}" srcOrd="18" destOrd="0" presId="urn:microsoft.com/office/officeart/2008/layout/LinedList"/>
    <dgm:cxn modelId="{4681DA74-4F15-4F66-8D1A-243693448B10}" type="presParOf" srcId="{5D5079C5-61FF-468C-B180-B1BCC8B24680}" destId="{C390C004-73D9-4022-B2E3-C071B71E27DB}" srcOrd="19" destOrd="0" presId="urn:microsoft.com/office/officeart/2008/layout/LinedList"/>
    <dgm:cxn modelId="{82F8CE19-C48B-4C8F-B99A-3FC0661D32EC}" type="presParOf" srcId="{C390C004-73D9-4022-B2E3-C071B71E27DB}" destId="{715906C0-6260-4827-AED8-8F8DBC713A44}" srcOrd="0" destOrd="0" presId="urn:microsoft.com/office/officeart/2008/layout/LinedList"/>
    <dgm:cxn modelId="{232882B9-1E52-4506-86E2-F848BA960FCB}" type="presParOf" srcId="{C390C004-73D9-4022-B2E3-C071B71E27DB}" destId="{08464675-5584-418C-BBB1-2EEDC17F7C23}" srcOrd="1" destOrd="0" presId="urn:microsoft.com/office/officeart/2008/layout/LinedList"/>
    <dgm:cxn modelId="{2B416FB1-B643-49C3-9ED4-A812F00C1D1E}" type="presParOf" srcId="{C390C004-73D9-4022-B2E3-C071B71E27DB}" destId="{4E482E53-E21D-4ADE-A424-3E0B8B5177E3}" srcOrd="2" destOrd="0" presId="urn:microsoft.com/office/officeart/2008/layout/LinedList"/>
    <dgm:cxn modelId="{5AF50F15-8023-4A50-B73D-841E0B061A9B}" type="presParOf" srcId="{5D5079C5-61FF-468C-B180-B1BCC8B24680}" destId="{0F73DF6C-2711-4660-ADFE-BD6054E447CC}" srcOrd="20" destOrd="0" presId="urn:microsoft.com/office/officeart/2008/layout/LinedList"/>
    <dgm:cxn modelId="{D431A725-8FB3-4F20-A8A6-0A73200D7D8D}" type="presParOf" srcId="{5D5079C5-61FF-468C-B180-B1BCC8B24680}" destId="{47801280-C0C4-457D-9C99-2A8D3B81DE93}" srcOrd="21" destOrd="0" presId="urn:microsoft.com/office/officeart/2008/layout/LinedList"/>
    <dgm:cxn modelId="{F9C4EDD9-8D52-46E2-A80D-96010310240B}" type="presParOf" srcId="{5D5079C5-61FF-468C-B180-B1BCC8B24680}" destId="{243B7B94-CCAD-469D-8181-72C697E90F9C}" srcOrd="22" destOrd="0" presId="urn:microsoft.com/office/officeart/2008/layout/LinedList"/>
    <dgm:cxn modelId="{15449DF3-FA8C-4E41-A9D0-7A704A01ED81}" type="presParOf" srcId="{243B7B94-CCAD-469D-8181-72C697E90F9C}" destId="{D8CD1F4C-F123-49DF-8FF7-F5110C23E9C2}" srcOrd="0" destOrd="0" presId="urn:microsoft.com/office/officeart/2008/layout/LinedList"/>
    <dgm:cxn modelId="{74BC1469-9F27-4F61-B2ED-401557C55733}" type="presParOf" srcId="{243B7B94-CCAD-469D-8181-72C697E90F9C}" destId="{26C586D6-6C0D-426F-9809-3D043EA3899A}" srcOrd="1" destOrd="0" presId="urn:microsoft.com/office/officeart/2008/layout/LinedList"/>
    <dgm:cxn modelId="{8AF2D767-2958-450A-8CD9-2BF972A00AE8}" type="presParOf" srcId="{243B7B94-CCAD-469D-8181-72C697E90F9C}" destId="{0786E721-61F6-46CE-89F7-506EF993FC3F}" srcOrd="2" destOrd="0" presId="urn:microsoft.com/office/officeart/2008/layout/LinedList"/>
    <dgm:cxn modelId="{0A1C6A61-2EDE-4A41-827A-12D62C145649}" type="presParOf" srcId="{5D5079C5-61FF-468C-B180-B1BCC8B24680}" destId="{9AB14ECA-ABC3-4FE5-9CD5-6D57F5938D02}" srcOrd="23" destOrd="0" presId="urn:microsoft.com/office/officeart/2008/layout/LinedList"/>
    <dgm:cxn modelId="{C69AE911-D9C1-4D57-9190-FF6D3AA1F3AD}" type="presParOf" srcId="{5D5079C5-61FF-468C-B180-B1BCC8B24680}" destId="{5071A5E3-FF7D-488D-AB93-F58967F8A89A}" srcOrd="24" destOrd="0" presId="urn:microsoft.com/office/officeart/2008/layout/LinedList"/>
    <dgm:cxn modelId="{732B5920-E748-4D2D-8C35-ADFE6B3EC0A6}" type="presParOf" srcId="{5D5079C5-61FF-468C-B180-B1BCC8B24680}" destId="{96BABFA2-5C3F-4D4C-991E-0C41E2A3669B}" srcOrd="25" destOrd="0" presId="urn:microsoft.com/office/officeart/2008/layout/LinedList"/>
    <dgm:cxn modelId="{BCD99854-4514-4570-938B-7E5A80A8BAD0}" type="presParOf" srcId="{96BABFA2-5C3F-4D4C-991E-0C41E2A3669B}" destId="{7E286B74-0DC8-4450-9613-7834EBDCC20A}" srcOrd="0" destOrd="0" presId="urn:microsoft.com/office/officeart/2008/layout/LinedList"/>
    <dgm:cxn modelId="{2F2F311C-F259-43A3-83FC-3F559929C273}" type="presParOf" srcId="{96BABFA2-5C3F-4D4C-991E-0C41E2A3669B}" destId="{6EF739EE-FFA6-4355-8BD5-F4A734186BA0}" srcOrd="1" destOrd="0" presId="urn:microsoft.com/office/officeart/2008/layout/LinedList"/>
    <dgm:cxn modelId="{BD135CF2-F9E7-46C4-BF90-4605BC9E2F2D}" type="presParOf" srcId="{96BABFA2-5C3F-4D4C-991E-0C41E2A3669B}" destId="{59588650-082F-407D-9B4D-9890FCE0C592}" srcOrd="2" destOrd="0" presId="urn:microsoft.com/office/officeart/2008/layout/LinedList"/>
    <dgm:cxn modelId="{DA7900B3-83D0-495C-A951-6844B09FFC59}" type="presParOf" srcId="{5D5079C5-61FF-468C-B180-B1BCC8B24680}" destId="{7A9CED7E-1D89-4049-84B9-6C4DB90E4E57}" srcOrd="26" destOrd="0" presId="urn:microsoft.com/office/officeart/2008/layout/LinedList"/>
    <dgm:cxn modelId="{06B30A09-95C3-46EA-AA3A-23CF22E6C0C8}" type="presParOf" srcId="{5D5079C5-61FF-468C-B180-B1BCC8B24680}" destId="{07F29CE7-C1B2-4F69-8E17-653969E1F626}" srcOrd="27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D5B795-A080-413A-8608-1C25AEC60A80}">
      <dsp:nvSpPr>
        <dsp:cNvPr id="0" name=""/>
        <dsp:cNvSpPr/>
      </dsp:nvSpPr>
      <dsp:spPr>
        <a:xfrm>
          <a:off x="0" y="0"/>
          <a:ext cx="914480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5169B40-ECE5-41B7-BA5F-8E3429DA6EAE}">
      <dsp:nvSpPr>
        <dsp:cNvPr id="0" name=""/>
        <dsp:cNvSpPr/>
      </dsp:nvSpPr>
      <dsp:spPr>
        <a:xfrm>
          <a:off x="0" y="0"/>
          <a:ext cx="2883248" cy="5174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b="1" u="sng" kern="1200" dirty="0">
              <a:solidFill>
                <a:schemeClr val="tx2"/>
              </a:solidFill>
            </a:rPr>
            <a:t>API, Applicatifs et Architecture</a:t>
          </a:r>
        </a:p>
      </dsp:txBody>
      <dsp:txXfrm>
        <a:off x="0" y="0"/>
        <a:ext cx="2883248" cy="5174572"/>
      </dsp:txXfrm>
    </dsp:sp>
    <dsp:sp modelId="{E39DAAF7-E760-4F98-9500-F71187AE4B47}">
      <dsp:nvSpPr>
        <dsp:cNvPr id="0" name=""/>
        <dsp:cNvSpPr/>
      </dsp:nvSpPr>
      <dsp:spPr>
        <a:xfrm>
          <a:off x="3000595" y="27224"/>
          <a:ext cx="6141130" cy="5444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 err="1">
              <a:solidFill>
                <a:schemeClr val="tx2"/>
              </a:solidFill>
            </a:rPr>
            <a:t>SpringBoot</a:t>
          </a:r>
          <a:r>
            <a:rPr lang="fr-FR" sz="1800" b="1" kern="1200" dirty="0">
              <a:solidFill>
                <a:schemeClr val="tx2"/>
              </a:solidFill>
            </a:rPr>
            <a:t> 2.4.9</a:t>
          </a:r>
        </a:p>
      </dsp:txBody>
      <dsp:txXfrm>
        <a:off x="3000595" y="27224"/>
        <a:ext cx="6141130" cy="544492"/>
      </dsp:txXfrm>
    </dsp:sp>
    <dsp:sp modelId="{03985DF9-09EE-420C-80CE-B84217CD99DB}">
      <dsp:nvSpPr>
        <dsp:cNvPr id="0" name=""/>
        <dsp:cNvSpPr/>
      </dsp:nvSpPr>
      <dsp:spPr>
        <a:xfrm>
          <a:off x="2883248" y="571716"/>
          <a:ext cx="625847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2692EF-7316-4FBC-8321-6EFECDA0D9DD}">
      <dsp:nvSpPr>
        <dsp:cNvPr id="0" name=""/>
        <dsp:cNvSpPr/>
      </dsp:nvSpPr>
      <dsp:spPr>
        <a:xfrm>
          <a:off x="3000595" y="598941"/>
          <a:ext cx="6141130" cy="5444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>
              <a:solidFill>
                <a:schemeClr val="tx2"/>
              </a:solidFill>
            </a:rPr>
            <a:t>Java 8</a:t>
          </a:r>
          <a:endParaRPr lang="fr-FR" sz="1600" kern="1200" dirty="0"/>
        </a:p>
      </dsp:txBody>
      <dsp:txXfrm>
        <a:off x="3000595" y="598941"/>
        <a:ext cx="6141130" cy="544492"/>
      </dsp:txXfrm>
    </dsp:sp>
    <dsp:sp modelId="{AB2AB4EC-389F-42C3-AFD8-25F7C6897BE2}">
      <dsp:nvSpPr>
        <dsp:cNvPr id="0" name=""/>
        <dsp:cNvSpPr/>
      </dsp:nvSpPr>
      <dsp:spPr>
        <a:xfrm>
          <a:off x="2883248" y="1143433"/>
          <a:ext cx="625847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ED96BA-2E5F-488D-B196-49933EC8629E}">
      <dsp:nvSpPr>
        <dsp:cNvPr id="0" name=""/>
        <dsp:cNvSpPr/>
      </dsp:nvSpPr>
      <dsp:spPr>
        <a:xfrm>
          <a:off x="3000595" y="1170658"/>
          <a:ext cx="6141130" cy="5444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>
              <a:solidFill>
                <a:schemeClr val="tx2"/>
              </a:solidFill>
            </a:rPr>
            <a:t>Maven</a:t>
          </a:r>
          <a:endParaRPr lang="fr-FR" sz="2000" kern="1200" dirty="0"/>
        </a:p>
      </dsp:txBody>
      <dsp:txXfrm>
        <a:off x="3000595" y="1170658"/>
        <a:ext cx="6141130" cy="544492"/>
      </dsp:txXfrm>
    </dsp:sp>
    <dsp:sp modelId="{AC53C367-BABC-4B44-B682-9E1A4587720F}">
      <dsp:nvSpPr>
        <dsp:cNvPr id="0" name=""/>
        <dsp:cNvSpPr/>
      </dsp:nvSpPr>
      <dsp:spPr>
        <a:xfrm>
          <a:off x="2883248" y="1715150"/>
          <a:ext cx="625847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A8EBFB-4A98-4CE1-B8C0-007E1B9DB61C}">
      <dsp:nvSpPr>
        <dsp:cNvPr id="0" name=""/>
        <dsp:cNvSpPr/>
      </dsp:nvSpPr>
      <dsp:spPr>
        <a:xfrm>
          <a:off x="3000595" y="1742375"/>
          <a:ext cx="6141130" cy="5444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 err="1">
              <a:solidFill>
                <a:schemeClr val="tx2"/>
              </a:solidFill>
            </a:rPr>
            <a:t>ElasticSearch</a:t>
          </a:r>
          <a:r>
            <a:rPr lang="fr-FR" sz="1600" b="1" kern="1200" dirty="0">
              <a:solidFill>
                <a:schemeClr val="tx2"/>
              </a:solidFill>
            </a:rPr>
            <a:t> 7,12</a:t>
          </a:r>
          <a:endParaRPr lang="fr-FR" sz="1600" kern="1200" dirty="0"/>
        </a:p>
      </dsp:txBody>
      <dsp:txXfrm>
        <a:off x="3000595" y="1742375"/>
        <a:ext cx="6141130" cy="544492"/>
      </dsp:txXfrm>
    </dsp:sp>
    <dsp:sp modelId="{A697DED2-2DA0-478B-B84F-0ADF7AE4F898}">
      <dsp:nvSpPr>
        <dsp:cNvPr id="0" name=""/>
        <dsp:cNvSpPr/>
      </dsp:nvSpPr>
      <dsp:spPr>
        <a:xfrm>
          <a:off x="2883248" y="2286867"/>
          <a:ext cx="625847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5008EA-7BA6-4549-BEC5-D7FDAE79FCA8}">
      <dsp:nvSpPr>
        <dsp:cNvPr id="0" name=""/>
        <dsp:cNvSpPr/>
      </dsp:nvSpPr>
      <dsp:spPr>
        <a:xfrm>
          <a:off x="3000595" y="2314092"/>
          <a:ext cx="6141130" cy="5444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 err="1">
              <a:solidFill>
                <a:schemeClr val="tx2"/>
              </a:solidFill>
            </a:rPr>
            <a:t>Angular</a:t>
          </a:r>
          <a:r>
            <a:rPr lang="fr-FR" sz="1600" b="1" kern="1200" dirty="0">
              <a:solidFill>
                <a:schemeClr val="tx2"/>
              </a:solidFill>
            </a:rPr>
            <a:t> 11</a:t>
          </a:r>
          <a:endParaRPr lang="fr-FR" sz="1600" kern="1200" dirty="0"/>
        </a:p>
      </dsp:txBody>
      <dsp:txXfrm>
        <a:off x="3000595" y="2314092"/>
        <a:ext cx="6141130" cy="544492"/>
      </dsp:txXfrm>
    </dsp:sp>
    <dsp:sp modelId="{AA1DDD3C-AFAE-47B7-A2F1-09F31DD94E31}">
      <dsp:nvSpPr>
        <dsp:cNvPr id="0" name=""/>
        <dsp:cNvSpPr/>
      </dsp:nvSpPr>
      <dsp:spPr>
        <a:xfrm>
          <a:off x="2883248" y="2858584"/>
          <a:ext cx="625847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CACBF9-FC05-48CA-9C40-3037454259AE}">
      <dsp:nvSpPr>
        <dsp:cNvPr id="0" name=""/>
        <dsp:cNvSpPr/>
      </dsp:nvSpPr>
      <dsp:spPr>
        <a:xfrm>
          <a:off x="3000595" y="2885809"/>
          <a:ext cx="6141130" cy="5444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>
              <a:solidFill>
                <a:schemeClr val="tx2"/>
              </a:solidFill>
            </a:rPr>
            <a:t>Bootstrap</a:t>
          </a:r>
          <a:endParaRPr lang="fr-FR" sz="1600" kern="1200" dirty="0"/>
        </a:p>
      </dsp:txBody>
      <dsp:txXfrm>
        <a:off x="3000595" y="2885809"/>
        <a:ext cx="6141130" cy="544492"/>
      </dsp:txXfrm>
    </dsp:sp>
    <dsp:sp modelId="{2A76F9DE-0CF8-4696-866D-6AEA95A88834}">
      <dsp:nvSpPr>
        <dsp:cNvPr id="0" name=""/>
        <dsp:cNvSpPr/>
      </dsp:nvSpPr>
      <dsp:spPr>
        <a:xfrm>
          <a:off x="2883248" y="3430301"/>
          <a:ext cx="625847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464675-5584-418C-BBB1-2EEDC17F7C23}">
      <dsp:nvSpPr>
        <dsp:cNvPr id="0" name=""/>
        <dsp:cNvSpPr/>
      </dsp:nvSpPr>
      <dsp:spPr>
        <a:xfrm>
          <a:off x="3000595" y="3457526"/>
          <a:ext cx="6141130" cy="5444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>
              <a:solidFill>
                <a:schemeClr val="tx2"/>
              </a:solidFill>
            </a:rPr>
            <a:t>Azure PostgreSQL 10</a:t>
          </a:r>
          <a:endParaRPr lang="fr-FR" sz="1600" kern="1200" dirty="0"/>
        </a:p>
      </dsp:txBody>
      <dsp:txXfrm>
        <a:off x="3000595" y="3457526"/>
        <a:ext cx="6141130" cy="544492"/>
      </dsp:txXfrm>
    </dsp:sp>
    <dsp:sp modelId="{0F73DF6C-2711-4660-ADFE-BD6054E447CC}">
      <dsp:nvSpPr>
        <dsp:cNvPr id="0" name=""/>
        <dsp:cNvSpPr/>
      </dsp:nvSpPr>
      <dsp:spPr>
        <a:xfrm>
          <a:off x="2883248" y="4002018"/>
          <a:ext cx="625847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C586D6-6C0D-426F-9809-3D043EA3899A}">
      <dsp:nvSpPr>
        <dsp:cNvPr id="0" name=""/>
        <dsp:cNvSpPr/>
      </dsp:nvSpPr>
      <dsp:spPr>
        <a:xfrm>
          <a:off x="3000595" y="4029243"/>
          <a:ext cx="6141130" cy="5444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>
              <a:solidFill>
                <a:schemeClr val="tx2"/>
              </a:solidFill>
            </a:rPr>
            <a:t>Docker</a:t>
          </a:r>
          <a:endParaRPr lang="fr-FR" sz="2200" kern="1200" dirty="0"/>
        </a:p>
      </dsp:txBody>
      <dsp:txXfrm>
        <a:off x="3000595" y="4029243"/>
        <a:ext cx="6141130" cy="544492"/>
      </dsp:txXfrm>
    </dsp:sp>
    <dsp:sp modelId="{9AB14ECA-ABC3-4FE5-9CD5-6D57F5938D02}">
      <dsp:nvSpPr>
        <dsp:cNvPr id="0" name=""/>
        <dsp:cNvSpPr/>
      </dsp:nvSpPr>
      <dsp:spPr>
        <a:xfrm>
          <a:off x="2883248" y="4573735"/>
          <a:ext cx="625847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F739EE-FFA6-4355-8BD5-F4A734186BA0}">
      <dsp:nvSpPr>
        <dsp:cNvPr id="0" name=""/>
        <dsp:cNvSpPr/>
      </dsp:nvSpPr>
      <dsp:spPr>
        <a:xfrm>
          <a:off x="3000595" y="4600960"/>
          <a:ext cx="6141130" cy="5444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>
              <a:solidFill>
                <a:schemeClr val="tx2"/>
              </a:solidFill>
            </a:rPr>
            <a:t>Azure </a:t>
          </a:r>
          <a:r>
            <a:rPr lang="fr-FR" sz="1600" b="1" kern="1200" dirty="0" err="1">
              <a:solidFill>
                <a:schemeClr val="tx2"/>
              </a:solidFill>
            </a:rPr>
            <a:t>Kubernetes</a:t>
          </a:r>
          <a:r>
            <a:rPr lang="fr-FR" sz="1600" b="1" kern="1200" dirty="0">
              <a:solidFill>
                <a:schemeClr val="tx2"/>
              </a:solidFill>
            </a:rPr>
            <a:t> Services </a:t>
          </a:r>
          <a:endParaRPr lang="fr-FR" sz="1600" kern="1200" dirty="0"/>
        </a:p>
      </dsp:txBody>
      <dsp:txXfrm>
        <a:off x="3000595" y="4600960"/>
        <a:ext cx="6141130" cy="544492"/>
      </dsp:txXfrm>
    </dsp:sp>
    <dsp:sp modelId="{7A9CED7E-1D89-4049-84B9-6C4DB90E4E57}">
      <dsp:nvSpPr>
        <dsp:cNvPr id="0" name=""/>
        <dsp:cNvSpPr/>
      </dsp:nvSpPr>
      <dsp:spPr>
        <a:xfrm>
          <a:off x="2883248" y="5145452"/>
          <a:ext cx="625847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8F78C6-9F51-47F5-9D9F-4B899C5520F0}" type="datetimeFigureOut">
              <a:rPr lang="fr-FR" smtClean="0"/>
              <a:t>20/08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FB1C8A-FDB3-44D0-B39F-2BBFCAFF878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3979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FB1C8A-FDB3-44D0-B39F-2BBFCAFF8782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585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FB1C8A-FDB3-44D0-B39F-2BBFCAFF8782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9910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FB1C8A-FDB3-44D0-B39F-2BBFCAFF8782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83428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38.svg"/><Relationship Id="rId7" Type="http://schemas.openxmlformats.org/officeDocument/2006/relationships/image" Target="../media/image46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38.svg"/><Relationship Id="rId7" Type="http://schemas.openxmlformats.org/officeDocument/2006/relationships/image" Target="../media/image46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38.svg"/><Relationship Id="rId7" Type="http://schemas.openxmlformats.org/officeDocument/2006/relationships/image" Target="../media/image46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38.svg"/><Relationship Id="rId7" Type="http://schemas.openxmlformats.org/officeDocument/2006/relationships/image" Target="../media/image46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688" y="1271557"/>
            <a:ext cx="8536636" cy="1631033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688" y="3226182"/>
            <a:ext cx="8536636" cy="1341488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cxnSp>
        <p:nvCxnSpPr>
          <p:cNvPr id="8" name="Straight Connector 12"/>
          <p:cNvCxnSpPr/>
          <p:nvPr userDrawn="1"/>
        </p:nvCxnSpPr>
        <p:spPr>
          <a:xfrm>
            <a:off x="4039681" y="3069330"/>
            <a:ext cx="1824429" cy="0"/>
          </a:xfrm>
          <a:prstGeom prst="line">
            <a:avLst/>
          </a:prstGeom>
          <a:ln w="19050" cap="rnd" cmpd="sng">
            <a:solidFill>
              <a:schemeClr val="accent1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1"/>
          <p:cNvSpPr txBox="1"/>
          <p:nvPr userDrawn="1"/>
        </p:nvSpPr>
        <p:spPr>
          <a:xfrm>
            <a:off x="0" y="6494481"/>
            <a:ext cx="9906000" cy="36352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5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9047" y="6559609"/>
            <a:ext cx="3458496" cy="230900"/>
          </a:xfrm>
        </p:spPr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0661" y="5798340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593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+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55419"/>
            <a:ext cx="9905999" cy="18025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3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073099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30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738575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Cover ">
    <p:bg>
      <p:bgPr>
        <a:solidFill>
          <a:srgbClr val="222C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 userDrawn="1"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00658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568821" y="3581017"/>
            <a:ext cx="8768358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Habilitations et </a:t>
            </a:r>
            <a:r>
              <a:rPr lang="en-US" noProof="0" dirty="0" err="1"/>
              <a:t>Confidentialité</a:t>
            </a:r>
            <a:r>
              <a:rPr lang="en-US" noProof="0" dirty="0"/>
              <a:t> IKOS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tx2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 userDrawn="1"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02/03/2021  |  ©2020 Inetum  | Ref. XXXXXX v1.0</a:t>
            </a:r>
          </a:p>
          <a:p>
            <a:r>
              <a:rPr lang="en-US" dirty="0"/>
              <a:t>Classification: internal document</a:t>
            </a:r>
          </a:p>
          <a:p>
            <a:r>
              <a:rPr lang="en-US" dirty="0"/>
              <a:t>Habilitations et </a:t>
            </a:r>
            <a:r>
              <a:rPr lang="en-US" dirty="0" err="1"/>
              <a:t>Confidentialité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6043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215033" y="1669251"/>
            <a:ext cx="5130998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troduction</a:t>
            </a: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" name="object 4">
            <a:extLst>
              <a:ext uri="{FF2B5EF4-FFF2-40B4-BE49-F238E27FC236}">
                <a16:creationId xmlns:a16="http://schemas.microsoft.com/office/drawing/2014/main" id="{D3C0EACF-3AD5-4884-9531-06FDA14E14F3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8F84A533-D15F-4251-B825-30C4967127B7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5815314C-9423-41A5-BEA4-E339EE8896A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1E59CB-5F39-462D-B61D-4A4C7D89DC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5033" y="2227416"/>
            <a:ext cx="5130998" cy="182985"/>
          </a:xfrm>
        </p:spPr>
        <p:txBody>
          <a:bodyPr wrap="square" tIns="14400">
            <a:spAutoFit/>
          </a:bodyPr>
          <a:lstStyle>
            <a:lvl1pPr>
              <a:spcBef>
                <a:spcPts val="0"/>
              </a:spcBef>
              <a:defRPr sz="1097">
                <a:solidFill>
                  <a:schemeClr val="accent3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43F9D-3345-4E29-AB08-377E0B10E7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 sz="609"/>
              <a:t>Classification: [choose internal, external or confidential] document</a:t>
            </a:r>
          </a:p>
          <a:p>
            <a:r>
              <a:rPr lang="en-US" sz="609"/>
              <a:t>PRESENTATION TITLE</a:t>
            </a:r>
            <a:endParaRPr lang="en-US" sz="609" dirty="0"/>
          </a:p>
        </p:txBody>
      </p:sp>
    </p:spTree>
    <p:extLst>
      <p:ext uri="{BB962C8B-B14F-4D97-AF65-F5344CB8AC3E}">
        <p14:creationId xmlns:p14="http://schemas.microsoft.com/office/powerpoint/2010/main" val="414780165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3" name="Text Placeholder 31">
            <a:extLst>
              <a:ext uri="{FF2B5EF4-FFF2-40B4-BE49-F238E27FC236}">
                <a16:creationId xmlns:a16="http://schemas.microsoft.com/office/drawing/2014/main" id="{3511C7BF-3840-4CE8-BB5B-C7B08391350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237088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14" name="Text Placeholder 18">
            <a:extLst>
              <a:ext uri="{FF2B5EF4-FFF2-40B4-BE49-F238E27FC236}">
                <a16:creationId xmlns:a16="http://schemas.microsoft.com/office/drawing/2014/main" id="{EFD58F2A-B07B-4D2B-8951-E00DDA67D76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802041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5" name="Text Placeholder 18">
            <a:extLst>
              <a:ext uri="{FF2B5EF4-FFF2-40B4-BE49-F238E27FC236}">
                <a16:creationId xmlns:a16="http://schemas.microsoft.com/office/drawing/2014/main" id="{A3AA694F-FB48-41A8-B07B-EC1F3B40C39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802040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0" name="Text Placeholder 18">
            <a:extLst>
              <a:ext uri="{FF2B5EF4-FFF2-40B4-BE49-F238E27FC236}">
                <a16:creationId xmlns:a16="http://schemas.microsoft.com/office/drawing/2014/main" id="{8465A35D-EC66-40E8-80CC-6934147C890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837254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3" name="Text Placeholder 31">
            <a:extLst>
              <a:ext uri="{FF2B5EF4-FFF2-40B4-BE49-F238E27FC236}">
                <a16:creationId xmlns:a16="http://schemas.microsoft.com/office/drawing/2014/main" id="{F5A26CFA-C26B-4F48-AFCC-68C933599A6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7212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4" name="Text Placeholder 18">
            <a:extLst>
              <a:ext uri="{FF2B5EF4-FFF2-40B4-BE49-F238E27FC236}">
                <a16:creationId xmlns:a16="http://schemas.microsoft.com/office/drawing/2014/main" id="{248854A8-0EED-4EC1-81BB-9B97B87D848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122165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5" name="Text Placeholder 18">
            <a:extLst>
              <a:ext uri="{FF2B5EF4-FFF2-40B4-BE49-F238E27FC236}">
                <a16:creationId xmlns:a16="http://schemas.microsoft.com/office/drawing/2014/main" id="{FF847E46-100F-4B85-ABC9-C63CBCF3D745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122164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6" name="Text Placeholder 18">
            <a:extLst>
              <a:ext uri="{FF2B5EF4-FFF2-40B4-BE49-F238E27FC236}">
                <a16:creationId xmlns:a16="http://schemas.microsoft.com/office/drawing/2014/main" id="{1EDAB9D3-F6BE-48C5-94F8-F0CEB0166F34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57378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7" name="Text Placeholder 31">
            <a:extLst>
              <a:ext uri="{FF2B5EF4-FFF2-40B4-BE49-F238E27FC236}">
                <a16:creationId xmlns:a16="http://schemas.microsoft.com/office/drawing/2014/main" id="{6FFEF1B8-6626-4B8C-86D2-FD64ECC7E0EE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8" name="Text Placeholder 18">
            <a:extLst>
              <a:ext uri="{FF2B5EF4-FFF2-40B4-BE49-F238E27FC236}">
                <a16:creationId xmlns:a16="http://schemas.microsoft.com/office/drawing/2014/main" id="{5F1270D3-9E35-4323-99FB-4AA40123E72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9" name="Text Placeholder 18">
            <a:extLst>
              <a:ext uri="{FF2B5EF4-FFF2-40B4-BE49-F238E27FC236}">
                <a16:creationId xmlns:a16="http://schemas.microsoft.com/office/drawing/2014/main" id="{1C93CA53-2F3D-4CA4-A60D-15B2C8F92786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0" name="Text Placeholder 18">
            <a:extLst>
              <a:ext uri="{FF2B5EF4-FFF2-40B4-BE49-F238E27FC236}">
                <a16:creationId xmlns:a16="http://schemas.microsoft.com/office/drawing/2014/main" id="{93C6D7CE-3B53-4781-9604-D0FE8BEF0B5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1" name="Text Placeholder 31">
            <a:extLst>
              <a:ext uri="{FF2B5EF4-FFF2-40B4-BE49-F238E27FC236}">
                <a16:creationId xmlns:a16="http://schemas.microsoft.com/office/drawing/2014/main" id="{F09C8D30-46AD-4E01-B69D-ECF0E9639720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2" name="Text Placeholder 18">
            <a:extLst>
              <a:ext uri="{FF2B5EF4-FFF2-40B4-BE49-F238E27FC236}">
                <a16:creationId xmlns:a16="http://schemas.microsoft.com/office/drawing/2014/main" id="{6BBF8358-0312-4476-A379-4092F5096A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131FAF0A-F8E5-4E88-BBC2-856B2610CB5C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DF585C99-0360-4056-A9DA-37C046EC20F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2D049B-FF10-4FE9-B55A-5E1428FB2026}"/>
              </a:ext>
            </a:extLst>
          </p:cNvPr>
          <p:cNvSpPr>
            <a:spLocks noGrp="1"/>
          </p:cNvSpPr>
          <p:nvPr>
            <p:ph type="ftr" sz="quarter" idx="1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1" name="Titre 3">
            <a:extLst>
              <a:ext uri="{FF2B5EF4-FFF2-40B4-BE49-F238E27FC236}">
                <a16:creationId xmlns:a16="http://schemas.microsoft.com/office/drawing/2014/main" id="{AE0B397F-537F-475A-B197-1EC9819F9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8591357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2" name="Text Placeholder 31">
            <a:extLst>
              <a:ext uri="{FF2B5EF4-FFF2-40B4-BE49-F238E27FC236}">
                <a16:creationId xmlns:a16="http://schemas.microsoft.com/office/drawing/2014/main" id="{7EC72E04-62A6-456D-9129-8BFC76A3EA7B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3" name="Text Placeholder 18">
            <a:extLst>
              <a:ext uri="{FF2B5EF4-FFF2-40B4-BE49-F238E27FC236}">
                <a16:creationId xmlns:a16="http://schemas.microsoft.com/office/drawing/2014/main" id="{75D73ABA-CA4C-4758-A70B-18788A7152E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4" name="Text Placeholder 18">
            <a:extLst>
              <a:ext uri="{FF2B5EF4-FFF2-40B4-BE49-F238E27FC236}">
                <a16:creationId xmlns:a16="http://schemas.microsoft.com/office/drawing/2014/main" id="{46C41AE2-59D8-4B49-848B-EA4CBB402683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5" name="Text Placeholder 18">
            <a:extLst>
              <a:ext uri="{FF2B5EF4-FFF2-40B4-BE49-F238E27FC236}">
                <a16:creationId xmlns:a16="http://schemas.microsoft.com/office/drawing/2014/main" id="{2220B1D5-71D2-48C3-A929-898FF8C1F57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06" name="Text Placeholder 31">
            <a:extLst>
              <a:ext uri="{FF2B5EF4-FFF2-40B4-BE49-F238E27FC236}">
                <a16:creationId xmlns:a16="http://schemas.microsoft.com/office/drawing/2014/main" id="{E2D825A0-520D-4092-8235-41A32121B04E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7" name="Text Placeholder 18">
            <a:extLst>
              <a:ext uri="{FF2B5EF4-FFF2-40B4-BE49-F238E27FC236}">
                <a16:creationId xmlns:a16="http://schemas.microsoft.com/office/drawing/2014/main" id="{22E612C7-1A1F-493A-8A38-C03F18CC687E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24428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8" name="Text Placeholder 18">
            <a:extLst>
              <a:ext uri="{FF2B5EF4-FFF2-40B4-BE49-F238E27FC236}">
                <a16:creationId xmlns:a16="http://schemas.microsoft.com/office/drawing/2014/main" id="{649F1CE4-C3CE-4985-AD3E-FC4A4AC0C2BD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4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9" name="Text Placeholder 18">
            <a:extLst>
              <a:ext uri="{FF2B5EF4-FFF2-40B4-BE49-F238E27FC236}">
                <a16:creationId xmlns:a16="http://schemas.microsoft.com/office/drawing/2014/main" id="{CB3A685A-DB20-4E5A-9F48-2108FDDDF82A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5" name="Text Placeholder 31">
            <a:extLst>
              <a:ext uri="{FF2B5EF4-FFF2-40B4-BE49-F238E27FC236}">
                <a16:creationId xmlns:a16="http://schemas.microsoft.com/office/drawing/2014/main" id="{FB61BDCE-020E-4BCF-9B3C-320CC2C9B7A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26" name="Text Placeholder 18">
            <a:extLst>
              <a:ext uri="{FF2B5EF4-FFF2-40B4-BE49-F238E27FC236}">
                <a16:creationId xmlns:a16="http://schemas.microsoft.com/office/drawing/2014/main" id="{13C2CDE7-3771-468A-A640-29AA16C285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27" name="Text Placeholder 18">
            <a:extLst>
              <a:ext uri="{FF2B5EF4-FFF2-40B4-BE49-F238E27FC236}">
                <a16:creationId xmlns:a16="http://schemas.microsoft.com/office/drawing/2014/main" id="{831093BB-2135-4302-AD17-917734EC88A6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28" name="Text Placeholder 18">
            <a:extLst>
              <a:ext uri="{FF2B5EF4-FFF2-40B4-BE49-F238E27FC236}">
                <a16:creationId xmlns:a16="http://schemas.microsoft.com/office/drawing/2014/main" id="{EF93369E-2C3E-4EE7-8D1D-99C239A339E3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9" name="Text Placeholder 31">
            <a:extLst>
              <a:ext uri="{FF2B5EF4-FFF2-40B4-BE49-F238E27FC236}">
                <a16:creationId xmlns:a16="http://schemas.microsoft.com/office/drawing/2014/main" id="{C287AF80-AE6B-424F-8FDB-B11EF6A13FB2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1" name="Text Placeholder 18">
            <a:extLst>
              <a:ext uri="{FF2B5EF4-FFF2-40B4-BE49-F238E27FC236}">
                <a16:creationId xmlns:a16="http://schemas.microsoft.com/office/drawing/2014/main" id="{61424F3E-758A-41A8-BED0-46CF7C78F3D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1" y="324428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2" name="Text Placeholder 18">
            <a:extLst>
              <a:ext uri="{FF2B5EF4-FFF2-40B4-BE49-F238E27FC236}">
                <a16:creationId xmlns:a16="http://schemas.microsoft.com/office/drawing/2014/main" id="{C48A6046-5F7C-45C3-832A-2C969ACC9C87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7" name="Text Placeholder 18">
            <a:extLst>
              <a:ext uri="{FF2B5EF4-FFF2-40B4-BE49-F238E27FC236}">
                <a16:creationId xmlns:a16="http://schemas.microsoft.com/office/drawing/2014/main" id="{27D74F4C-9A89-4C62-9FBF-A53BF21FC90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2" name="Text Placeholder 31">
            <a:extLst>
              <a:ext uri="{FF2B5EF4-FFF2-40B4-BE49-F238E27FC236}">
                <a16:creationId xmlns:a16="http://schemas.microsoft.com/office/drawing/2014/main" id="{BD95E687-7F93-472F-98D4-EC938AA6550F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025B0146-CB38-42F3-839F-A26A6143E0F2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478310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A284474C-E457-4B47-BD17-F5D8229E4172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4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5" name="Text Placeholder 18">
            <a:extLst>
              <a:ext uri="{FF2B5EF4-FFF2-40B4-BE49-F238E27FC236}">
                <a16:creationId xmlns:a16="http://schemas.microsoft.com/office/drawing/2014/main" id="{BD29F203-3EED-448C-9A44-6A9AF6E4D1AE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6" name="Text Placeholder 31">
            <a:extLst>
              <a:ext uri="{FF2B5EF4-FFF2-40B4-BE49-F238E27FC236}">
                <a16:creationId xmlns:a16="http://schemas.microsoft.com/office/drawing/2014/main" id="{37A450F0-202F-4585-8D10-F0C9C63E8342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7" name="Text Placeholder 18">
            <a:extLst>
              <a:ext uri="{FF2B5EF4-FFF2-40B4-BE49-F238E27FC236}">
                <a16:creationId xmlns:a16="http://schemas.microsoft.com/office/drawing/2014/main" id="{F15D7F17-C51A-401A-B45B-C0DD68E1A185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1" y="478310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8" name="Text Placeholder 18">
            <a:extLst>
              <a:ext uri="{FF2B5EF4-FFF2-40B4-BE49-F238E27FC236}">
                <a16:creationId xmlns:a16="http://schemas.microsoft.com/office/drawing/2014/main" id="{EA613244-6AF1-4BED-B339-59144E1E2378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9" name="Text Placeholder 18">
            <a:extLst>
              <a:ext uri="{FF2B5EF4-FFF2-40B4-BE49-F238E27FC236}">
                <a16:creationId xmlns:a16="http://schemas.microsoft.com/office/drawing/2014/main" id="{015CB9AD-585C-4445-80B0-B9C7F59AD015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4F7EFA-6F22-4F7A-86D6-B9B9EFDEBF45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9" name="Titre 3">
            <a:extLst>
              <a:ext uri="{FF2B5EF4-FFF2-40B4-BE49-F238E27FC236}">
                <a16:creationId xmlns:a16="http://schemas.microsoft.com/office/drawing/2014/main" id="{EC744315-8B20-4BBE-A882-04AFDA114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38196208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9" name="Text Placeholder 31">
            <a:extLst>
              <a:ext uri="{FF2B5EF4-FFF2-40B4-BE49-F238E27FC236}">
                <a16:creationId xmlns:a16="http://schemas.microsoft.com/office/drawing/2014/main" id="{28FBECDA-E756-436B-A2DF-561D7CBEB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7212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D29DD076-5F15-437B-BFD1-4316097E0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2165" y="170821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1" name="Text Placeholder 18">
            <a:extLst>
              <a:ext uri="{FF2B5EF4-FFF2-40B4-BE49-F238E27FC236}">
                <a16:creationId xmlns:a16="http://schemas.microsoft.com/office/drawing/2014/main" id="{2B1B91FE-791C-486B-BB38-16A0BC617D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2164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1AD460FF-7D8C-43FC-A584-F7A2A0070B2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57378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3" name="Text Placeholder 31">
            <a:extLst>
              <a:ext uri="{FF2B5EF4-FFF2-40B4-BE49-F238E27FC236}">
                <a16:creationId xmlns:a16="http://schemas.microsoft.com/office/drawing/2014/main" id="{6196209E-A760-418E-ABA2-4DD925C316F8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6316DC73-28D4-4F73-B949-6F6F5D61C2F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266828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E6BEF16F-6B19-411C-B67C-B5AA0800E01A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6" name="Text Placeholder 18">
            <a:extLst>
              <a:ext uri="{FF2B5EF4-FFF2-40B4-BE49-F238E27FC236}">
                <a16:creationId xmlns:a16="http://schemas.microsoft.com/office/drawing/2014/main" id="{898B7DDA-82C5-4103-8C26-5F9811B20C9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7" name="Text Placeholder 31">
            <a:extLst>
              <a:ext uri="{FF2B5EF4-FFF2-40B4-BE49-F238E27FC236}">
                <a16:creationId xmlns:a16="http://schemas.microsoft.com/office/drawing/2014/main" id="{7DA447D7-A877-45B8-B6FB-AE90751E8876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8" name="Text Placeholder 18">
            <a:extLst>
              <a:ext uri="{FF2B5EF4-FFF2-40B4-BE49-F238E27FC236}">
                <a16:creationId xmlns:a16="http://schemas.microsoft.com/office/drawing/2014/main" id="{CFE91535-724D-49F0-92FE-8CAB5C480A12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62589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3D27B957-835E-4BF0-9537-A1AC3D952B2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4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0" name="Text Placeholder 18">
            <a:extLst>
              <a:ext uri="{FF2B5EF4-FFF2-40B4-BE49-F238E27FC236}">
                <a16:creationId xmlns:a16="http://schemas.microsoft.com/office/drawing/2014/main" id="{F84C2754-E4E9-4354-B6CB-7B5B7AA5A828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1" name="Text Placeholder 31">
            <a:extLst>
              <a:ext uri="{FF2B5EF4-FFF2-40B4-BE49-F238E27FC236}">
                <a16:creationId xmlns:a16="http://schemas.microsoft.com/office/drawing/2014/main" id="{8C74BB45-5D6F-48E6-9347-96EE0CC93A2A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57212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2" name="Text Placeholder 18">
            <a:extLst>
              <a:ext uri="{FF2B5EF4-FFF2-40B4-BE49-F238E27FC236}">
                <a16:creationId xmlns:a16="http://schemas.microsoft.com/office/drawing/2014/main" id="{BCD1C6AA-1F9C-4210-9D36-274FD1A6AE79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1122165" y="458350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3" name="Text Placeholder 18">
            <a:extLst>
              <a:ext uri="{FF2B5EF4-FFF2-40B4-BE49-F238E27FC236}">
                <a16:creationId xmlns:a16="http://schemas.microsoft.com/office/drawing/2014/main" id="{D180E97C-CAF1-4493-AD31-C1A8E60EAEFF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122164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4" name="Text Placeholder 18">
            <a:extLst>
              <a:ext uri="{FF2B5EF4-FFF2-40B4-BE49-F238E27FC236}">
                <a16:creationId xmlns:a16="http://schemas.microsoft.com/office/drawing/2014/main" id="{7FE91E81-87F3-42A4-9446-8670F0C28A15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157378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5" name="Text Placeholder 31">
            <a:extLst>
              <a:ext uri="{FF2B5EF4-FFF2-40B4-BE49-F238E27FC236}">
                <a16:creationId xmlns:a16="http://schemas.microsoft.com/office/drawing/2014/main" id="{EDFC2B06-95E3-4B46-9D78-C5B889187574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5237088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6" name="Text Placeholder 18">
            <a:extLst>
              <a:ext uri="{FF2B5EF4-FFF2-40B4-BE49-F238E27FC236}">
                <a16:creationId xmlns:a16="http://schemas.microsoft.com/office/drawing/2014/main" id="{5C8CF654-7CDC-4671-BA3F-6E43C2F3D930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802041" y="170821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7" name="Text Placeholder 18">
            <a:extLst>
              <a:ext uri="{FF2B5EF4-FFF2-40B4-BE49-F238E27FC236}">
                <a16:creationId xmlns:a16="http://schemas.microsoft.com/office/drawing/2014/main" id="{AA689F23-6793-46A5-BC3A-C3C394EB61B7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5802040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8" name="Text Placeholder 18">
            <a:extLst>
              <a:ext uri="{FF2B5EF4-FFF2-40B4-BE49-F238E27FC236}">
                <a16:creationId xmlns:a16="http://schemas.microsoft.com/office/drawing/2014/main" id="{ED61CF7D-5129-427A-9E6A-C2D5A0108EF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3" name="Text Placeholder 18">
            <a:extLst>
              <a:ext uri="{FF2B5EF4-FFF2-40B4-BE49-F238E27FC236}">
                <a16:creationId xmlns:a16="http://schemas.microsoft.com/office/drawing/2014/main" id="{C7919060-BAE1-42EF-8A05-3D8F26EC8E7B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4" name="Text Placeholder 31">
            <a:extLst>
              <a:ext uri="{FF2B5EF4-FFF2-40B4-BE49-F238E27FC236}">
                <a16:creationId xmlns:a16="http://schemas.microsoft.com/office/drawing/2014/main" id="{DA0FFCE8-6B8A-4E0A-9547-C340275471AA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85" name="Text Placeholder 18">
            <a:extLst>
              <a:ext uri="{FF2B5EF4-FFF2-40B4-BE49-F238E27FC236}">
                <a16:creationId xmlns:a16="http://schemas.microsoft.com/office/drawing/2014/main" id="{B46C006F-C71D-4DE1-A056-5B3A93CF50D9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266828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C3771224-2466-4D8A-A811-964F73AA6409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89" name="Text Placeholder 18">
            <a:extLst>
              <a:ext uri="{FF2B5EF4-FFF2-40B4-BE49-F238E27FC236}">
                <a16:creationId xmlns:a16="http://schemas.microsoft.com/office/drawing/2014/main" id="{76FE5254-0432-4E51-B71F-918A5A083FA8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0" name="Text Placeholder 31">
            <a:extLst>
              <a:ext uri="{FF2B5EF4-FFF2-40B4-BE49-F238E27FC236}">
                <a16:creationId xmlns:a16="http://schemas.microsoft.com/office/drawing/2014/main" id="{77CAFDB0-A524-4811-9A5F-832074D34A45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1" name="Text Placeholder 18">
            <a:extLst>
              <a:ext uri="{FF2B5EF4-FFF2-40B4-BE49-F238E27FC236}">
                <a16:creationId xmlns:a16="http://schemas.microsoft.com/office/drawing/2014/main" id="{2F7D0EC5-CECB-4014-B06D-B2DBCBFBBF3D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1" y="362589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2" name="Text Placeholder 18">
            <a:extLst>
              <a:ext uri="{FF2B5EF4-FFF2-40B4-BE49-F238E27FC236}">
                <a16:creationId xmlns:a16="http://schemas.microsoft.com/office/drawing/2014/main" id="{8751CD9A-A0F4-4CC8-8C88-10310AE524D6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3" name="Text Placeholder 18">
            <a:extLst>
              <a:ext uri="{FF2B5EF4-FFF2-40B4-BE49-F238E27FC236}">
                <a16:creationId xmlns:a16="http://schemas.microsoft.com/office/drawing/2014/main" id="{26FADFFE-C225-4705-860D-DF5D47B6C04F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4" name="Text Placeholder 31">
            <a:extLst>
              <a:ext uri="{FF2B5EF4-FFF2-40B4-BE49-F238E27FC236}">
                <a16:creationId xmlns:a16="http://schemas.microsoft.com/office/drawing/2014/main" id="{ED08C253-1799-4939-89C2-67FE0903595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5237088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5" name="Text Placeholder 18">
            <a:extLst>
              <a:ext uri="{FF2B5EF4-FFF2-40B4-BE49-F238E27FC236}">
                <a16:creationId xmlns:a16="http://schemas.microsoft.com/office/drawing/2014/main" id="{BA8F5A1C-3DDB-4EB6-A07B-B7ACBC8A5ACC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5802041" y="458350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6" name="Text Placeholder 18">
            <a:extLst>
              <a:ext uri="{FF2B5EF4-FFF2-40B4-BE49-F238E27FC236}">
                <a16:creationId xmlns:a16="http://schemas.microsoft.com/office/drawing/2014/main" id="{C6330ADC-D7C7-4EFD-8348-FF37C7A173BC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5802040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7" name="Text Placeholder 18">
            <a:extLst>
              <a:ext uri="{FF2B5EF4-FFF2-40B4-BE49-F238E27FC236}">
                <a16:creationId xmlns:a16="http://schemas.microsoft.com/office/drawing/2014/main" id="{81AE0480-C514-4AD9-8691-694E141EE29E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8837254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9" name="Text Placeholder 31">
            <a:extLst>
              <a:ext uri="{FF2B5EF4-FFF2-40B4-BE49-F238E27FC236}">
                <a16:creationId xmlns:a16="http://schemas.microsoft.com/office/drawing/2014/main" id="{7268FDA8-F92E-4936-B990-FD4E9F0CC01D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37FDC6EC-A640-488F-9644-3FDD22493BD3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5540673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1873EAFB-A062-4833-B06F-62FD2E7C3DF9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4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2" name="Text Placeholder 18">
            <a:extLst>
              <a:ext uri="{FF2B5EF4-FFF2-40B4-BE49-F238E27FC236}">
                <a16:creationId xmlns:a16="http://schemas.microsoft.com/office/drawing/2014/main" id="{EE221A43-C270-4544-94DF-1ABABF451BBD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3" name="Text Placeholder 31">
            <a:extLst>
              <a:ext uri="{FF2B5EF4-FFF2-40B4-BE49-F238E27FC236}">
                <a16:creationId xmlns:a16="http://schemas.microsoft.com/office/drawing/2014/main" id="{9D8E4515-6F96-4F02-B988-811445E2351C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A17A929F-E044-48C5-9DD8-B47C3EF2AE1C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1" y="5540673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5D5ECF6A-91FB-4513-9425-F01C4C10BAB1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2F7DB677-C811-448B-9E9D-A05B83375084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3DF68-D79F-4DB1-B4FD-A39341DF1E94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7" name="Titre 3">
            <a:extLst>
              <a:ext uri="{FF2B5EF4-FFF2-40B4-BE49-F238E27FC236}">
                <a16:creationId xmlns:a16="http://schemas.microsoft.com/office/drawing/2014/main" id="{44057687-C51E-48EF-8ABC-CF8D8466D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5730361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4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rgbClr val="005473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04033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88242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tx2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2" name="Holder 2">
            <a:extLst>
              <a:ext uri="{FF2B5EF4-FFF2-40B4-BE49-F238E27FC236}">
                <a16:creationId xmlns:a16="http://schemas.microsoft.com/office/drawing/2014/main" id="{85B5B0C2-1E62-4343-9450-2B0AC120F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243129-780B-4E39-9EAF-CD2ED887D3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845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+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9" descr="iStock_000006458257XSmal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67300"/>
            <a:ext cx="9906000" cy="18660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3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073099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78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Sub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4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51128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39862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older 2">
            <a:extLst>
              <a:ext uri="{FF2B5EF4-FFF2-40B4-BE49-F238E27FC236}">
                <a16:creationId xmlns:a16="http://schemas.microsoft.com/office/drawing/2014/main" id="{76858CF1-1FE0-48C5-9C43-47EFD7F92F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1ABED16D-E05F-4052-AFDC-7D0B069E48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B56387-D400-4873-990C-66F86EBA3E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9EE1458B-1ACC-4A60-A6DA-3A183AD4A703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14AF817-4FA3-4511-BF85-552078C6E679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C87F872C-9C1D-4419-83CD-C89DB3A9AD0E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</p:spTree>
    <p:extLst>
      <p:ext uri="{BB962C8B-B14F-4D97-AF65-F5344CB8AC3E}">
        <p14:creationId xmlns:p14="http://schemas.microsoft.com/office/powerpoint/2010/main" val="298059902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422106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0748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372477"/>
          </a:xfrm>
        </p:spPr>
        <p:txBody>
          <a:bodyPr wrap="square">
            <a:spAutoFit/>
          </a:bodyPr>
          <a:lstStyle>
            <a:lvl1pPr marL="110286" indent="-120661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7" indent="-120661">
              <a:buFont typeface="Wingdings" panose="05000000000000000000" pitchFamily="2" charset="2"/>
              <a:buChar char="§"/>
              <a:defRPr/>
            </a:lvl2pPr>
            <a:lvl3pPr marL="241322" indent="-119960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38" indent="-109692">
              <a:defRPr sz="914">
                <a:solidFill>
                  <a:schemeClr val="tx2"/>
                </a:solidFill>
              </a:defRPr>
            </a:lvl4pPr>
            <a:lvl5pPr marL="372953" indent="-120661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75963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146CF11-ED2C-4591-88BE-369AC6EB33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23868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2ED684-1935-43C9-97F6-75241759244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3815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1832D763-A691-4EC4-9C13-3AFE8C77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65735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32815573-BF96-4315-998A-9A2D6B6189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1995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7E27E1-2C18-42F3-914E-B1AF02DA0F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6251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48C2F0-8F0D-4C02-9F19-6DF2108E0F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75958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A6FBA34-91D9-42CD-A3FE-DC53ABE99F6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31606" y="2057400"/>
            <a:ext cx="4117181" cy="4102899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BF8A56-100E-4902-968B-3CDFE43D67D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88148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5755A9E-B5F9-42B8-A663-09F0B19A19E0}"/>
              </a:ext>
            </a:extLst>
          </p:cNvPr>
          <p:cNvSpPr/>
          <p:nvPr userDrawn="1"/>
        </p:nvSpPr>
        <p:spPr>
          <a:xfrm>
            <a:off x="0" y="0"/>
            <a:ext cx="32194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1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3DC93F4-A945-42B6-9692-126B44277D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219450" cy="6857999"/>
          </a:xfrm>
          <a:custGeom>
            <a:avLst/>
            <a:gdLst>
              <a:gd name="connsiteX0" fmla="*/ 0 w 5283200"/>
              <a:gd name="connsiteY0" fmla="*/ 0 h 9143998"/>
              <a:gd name="connsiteX1" fmla="*/ 3454400 w 5283200"/>
              <a:gd name="connsiteY1" fmla="*/ 0 h 9143998"/>
              <a:gd name="connsiteX2" fmla="*/ 3454400 w 5283200"/>
              <a:gd name="connsiteY2" fmla="*/ 914400 h 9143998"/>
              <a:gd name="connsiteX3" fmla="*/ 4368800 w 5283200"/>
              <a:gd name="connsiteY3" fmla="*/ 914400 h 9143998"/>
              <a:gd name="connsiteX4" fmla="*/ 4368800 w 5283200"/>
              <a:gd name="connsiteY4" fmla="*/ 1828800 h 9143998"/>
              <a:gd name="connsiteX5" fmla="*/ 5283200 w 5283200"/>
              <a:gd name="connsiteY5" fmla="*/ 1828800 h 9143998"/>
              <a:gd name="connsiteX6" fmla="*/ 5283200 w 5283200"/>
              <a:gd name="connsiteY6" fmla="*/ 9143998 h 9143998"/>
              <a:gd name="connsiteX7" fmla="*/ 0 w 5283200"/>
              <a:gd name="connsiteY7" fmla="*/ 9143998 h 9143998"/>
              <a:gd name="connsiteX8" fmla="*/ 0 w 5283200"/>
              <a:gd name="connsiteY8" fmla="*/ 9143403 h 9143998"/>
              <a:gd name="connsiteX9" fmla="*/ 912533 w 5283200"/>
              <a:gd name="connsiteY9" fmla="*/ 9143403 h 9143998"/>
              <a:gd name="connsiteX10" fmla="*/ 912533 w 5283200"/>
              <a:gd name="connsiteY10" fmla="*/ 8230869 h 9143998"/>
              <a:gd name="connsiteX11" fmla="*/ 0 w 5283200"/>
              <a:gd name="connsiteY11" fmla="*/ 8230869 h 9143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83200" h="9143998">
                <a:moveTo>
                  <a:pt x="0" y="0"/>
                </a:moveTo>
                <a:lnTo>
                  <a:pt x="3454400" y="0"/>
                </a:lnTo>
                <a:lnTo>
                  <a:pt x="3454400" y="914400"/>
                </a:lnTo>
                <a:lnTo>
                  <a:pt x="4368800" y="914400"/>
                </a:lnTo>
                <a:lnTo>
                  <a:pt x="4368800" y="1828800"/>
                </a:lnTo>
                <a:lnTo>
                  <a:pt x="5283200" y="1828800"/>
                </a:lnTo>
                <a:lnTo>
                  <a:pt x="5283200" y="9143998"/>
                </a:lnTo>
                <a:lnTo>
                  <a:pt x="0" y="9143998"/>
                </a:lnTo>
                <a:lnTo>
                  <a:pt x="0" y="9143403"/>
                </a:lnTo>
                <a:lnTo>
                  <a:pt x="912533" y="9143403"/>
                </a:lnTo>
                <a:lnTo>
                  <a:pt x="912533" y="8230869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3" y="697701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7222AF-D59D-4EB8-BA6C-7217DC9168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639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2423" y="1248355"/>
            <a:ext cx="4210050" cy="5230266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6636" y="1248355"/>
            <a:ext cx="4210050" cy="500172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878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E4A3B4F-5311-4EE8-988B-706C2D0D244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219450" cy="6858000"/>
          </a:xfrm>
          <a:custGeom>
            <a:avLst/>
            <a:gdLst>
              <a:gd name="connsiteX0" fmla="*/ 0 w 5283200"/>
              <a:gd name="connsiteY0" fmla="*/ 0 h 9144000"/>
              <a:gd name="connsiteX1" fmla="*/ 3454400 w 5283200"/>
              <a:gd name="connsiteY1" fmla="*/ 0 h 9144000"/>
              <a:gd name="connsiteX2" fmla="*/ 5283200 w 5283200"/>
              <a:gd name="connsiteY2" fmla="*/ 0 h 9144000"/>
              <a:gd name="connsiteX3" fmla="*/ 5283200 w 5283200"/>
              <a:gd name="connsiteY3" fmla="*/ 1828800 h 9144000"/>
              <a:gd name="connsiteX4" fmla="*/ 5283200 w 5283200"/>
              <a:gd name="connsiteY4" fmla="*/ 3657599 h 9144000"/>
              <a:gd name="connsiteX5" fmla="*/ 4368800 w 5283200"/>
              <a:gd name="connsiteY5" fmla="*/ 3657599 h 9144000"/>
              <a:gd name="connsiteX6" fmla="*/ 4368800 w 5283200"/>
              <a:gd name="connsiteY6" fmla="*/ 4571999 h 9144000"/>
              <a:gd name="connsiteX7" fmla="*/ 3454400 w 5283200"/>
              <a:gd name="connsiteY7" fmla="*/ 4571999 h 9144000"/>
              <a:gd name="connsiteX8" fmla="*/ 3454400 w 5283200"/>
              <a:gd name="connsiteY8" fmla="*/ 5486399 h 9144000"/>
              <a:gd name="connsiteX9" fmla="*/ 4368800 w 5283200"/>
              <a:gd name="connsiteY9" fmla="*/ 5486399 h 9144000"/>
              <a:gd name="connsiteX10" fmla="*/ 4368800 w 5283200"/>
              <a:gd name="connsiteY10" fmla="*/ 4571999 h 9144000"/>
              <a:gd name="connsiteX11" fmla="*/ 5283200 w 5283200"/>
              <a:gd name="connsiteY11" fmla="*/ 4571999 h 9144000"/>
              <a:gd name="connsiteX12" fmla="*/ 5283200 w 5283200"/>
              <a:gd name="connsiteY12" fmla="*/ 9143998 h 9144000"/>
              <a:gd name="connsiteX13" fmla="*/ 5283200 w 5283200"/>
              <a:gd name="connsiteY13" fmla="*/ 9144000 h 9144000"/>
              <a:gd name="connsiteX14" fmla="*/ 0 w 5283200"/>
              <a:gd name="connsiteY14" fmla="*/ 9144000 h 9144000"/>
              <a:gd name="connsiteX15" fmla="*/ 0 w 5283200"/>
              <a:gd name="connsiteY15" fmla="*/ 9143998 h 9144000"/>
              <a:gd name="connsiteX16" fmla="*/ 0 w 5283200"/>
              <a:gd name="connsiteY16" fmla="*/ 9143403 h 9144000"/>
              <a:gd name="connsiteX17" fmla="*/ 0 w 5283200"/>
              <a:gd name="connsiteY17" fmla="*/ 8230869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283200" h="9144000">
                <a:moveTo>
                  <a:pt x="0" y="0"/>
                </a:moveTo>
                <a:lnTo>
                  <a:pt x="3454400" y="0"/>
                </a:lnTo>
                <a:lnTo>
                  <a:pt x="5283200" y="0"/>
                </a:lnTo>
                <a:lnTo>
                  <a:pt x="5283200" y="1828800"/>
                </a:lnTo>
                <a:lnTo>
                  <a:pt x="5283200" y="3657599"/>
                </a:lnTo>
                <a:lnTo>
                  <a:pt x="4368800" y="3657599"/>
                </a:lnTo>
                <a:lnTo>
                  <a:pt x="4368800" y="4571999"/>
                </a:lnTo>
                <a:lnTo>
                  <a:pt x="3454400" y="4571999"/>
                </a:lnTo>
                <a:lnTo>
                  <a:pt x="3454400" y="5486399"/>
                </a:lnTo>
                <a:lnTo>
                  <a:pt x="4368800" y="5486399"/>
                </a:lnTo>
                <a:lnTo>
                  <a:pt x="4368800" y="4571999"/>
                </a:lnTo>
                <a:lnTo>
                  <a:pt x="5283200" y="4571999"/>
                </a:lnTo>
                <a:lnTo>
                  <a:pt x="5283200" y="9143998"/>
                </a:lnTo>
                <a:lnTo>
                  <a:pt x="5283200" y="9144000"/>
                </a:lnTo>
                <a:lnTo>
                  <a:pt x="0" y="9144000"/>
                </a:lnTo>
                <a:lnTo>
                  <a:pt x="0" y="9143998"/>
                </a:lnTo>
                <a:lnTo>
                  <a:pt x="0" y="9143403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3" y="697701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41779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0B7646-0E4D-436E-80FB-4FABC82744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944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8">
            <a:extLst>
              <a:ext uri="{FF2B5EF4-FFF2-40B4-BE49-F238E27FC236}">
                <a16:creationId xmlns:a16="http://schemas.microsoft.com/office/drawing/2014/main" id="{C8E13DE4-5314-44E1-9E54-71B64E53C8D6}"/>
              </a:ext>
            </a:extLst>
          </p:cNvPr>
          <p:cNvSpPr/>
          <p:nvPr userDrawn="1"/>
        </p:nvSpPr>
        <p:spPr>
          <a:xfrm>
            <a:off x="3219450" y="411480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33875" y="2743200"/>
            <a:ext cx="5014913" cy="3428999"/>
          </a:xfrm>
          <a:solidFill>
            <a:schemeClr val="bg1"/>
          </a:solidFill>
        </p:spPr>
        <p:txBody>
          <a:bodyPr wrap="square" lIns="378000" tIns="39600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pic>
        <p:nvPicPr>
          <p:cNvPr id="5" name="Graphique 30">
            <a:extLst>
              <a:ext uri="{FF2B5EF4-FFF2-40B4-BE49-F238E27FC236}">
                <a16:creationId xmlns:a16="http://schemas.microsoft.com/office/drawing/2014/main" id="{E0424D29-3A81-4B93-B976-4CFAA6EE35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992156-85B6-4A34-BE33-8131FE99998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2419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FC103ADA-D47B-4E9B-AEDE-C787C53F5E3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37197" y="3895801"/>
            <a:ext cx="1143446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8EF4B44C-FC5F-4865-A2CA-6AD146697A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87416" y="3895801"/>
            <a:ext cx="1143446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132F59FA-5C54-4BEE-A151-61D1A5F550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47991" y="3802008"/>
            <a:ext cx="594604" cy="675798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AF6ED36D-FDAC-4123-A48A-812DD31A9EE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0086" y="3764498"/>
            <a:ext cx="609863" cy="7506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BD0662-49C5-48D6-8BC7-54C5A23568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97058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5" name="object 2">
            <a:extLst>
              <a:ext uri="{FF2B5EF4-FFF2-40B4-BE49-F238E27FC236}">
                <a16:creationId xmlns:a16="http://schemas.microsoft.com/office/drawing/2014/main" id="{31C329BC-FFDC-4CD3-ABE4-D824343B7B3C}"/>
              </a:ext>
            </a:extLst>
          </p:cNvPr>
          <p:cNvSpPr/>
          <p:nvPr userDrawn="1"/>
        </p:nvSpPr>
        <p:spPr>
          <a:xfrm>
            <a:off x="8408712" y="739971"/>
            <a:ext cx="765780" cy="69056"/>
          </a:xfrm>
          <a:custGeom>
            <a:avLst/>
            <a:gdLst/>
            <a:ahLst/>
            <a:cxnLst/>
            <a:rect l="l" t="t" r="r" b="b"/>
            <a:pathLst>
              <a:path w="1256665" h="92075">
                <a:moveTo>
                  <a:pt x="1158062" y="19088"/>
                </a:moveTo>
                <a:lnTo>
                  <a:pt x="1141564" y="19088"/>
                </a:lnTo>
                <a:lnTo>
                  <a:pt x="1164450" y="69951"/>
                </a:lnTo>
                <a:lnTo>
                  <a:pt x="1184147" y="69951"/>
                </a:lnTo>
                <a:lnTo>
                  <a:pt x="1189028" y="58381"/>
                </a:lnTo>
                <a:lnTo>
                  <a:pt x="1174737" y="58381"/>
                </a:lnTo>
                <a:lnTo>
                  <a:pt x="1158062" y="19088"/>
                </a:lnTo>
                <a:close/>
              </a:path>
              <a:path w="1256665" h="92075">
                <a:moveTo>
                  <a:pt x="1214012" y="34544"/>
                </a:moveTo>
                <a:lnTo>
                  <a:pt x="1199083" y="34544"/>
                </a:lnTo>
                <a:lnTo>
                  <a:pt x="1214005" y="69951"/>
                </a:lnTo>
                <a:lnTo>
                  <a:pt x="1233703" y="69951"/>
                </a:lnTo>
                <a:lnTo>
                  <a:pt x="1238949" y="58293"/>
                </a:lnTo>
                <a:lnTo>
                  <a:pt x="1223429" y="58293"/>
                </a:lnTo>
                <a:lnTo>
                  <a:pt x="1214012" y="34544"/>
                </a:lnTo>
                <a:close/>
              </a:path>
              <a:path w="1256665" h="92075">
                <a:moveTo>
                  <a:pt x="1207884" y="19088"/>
                </a:moveTo>
                <a:lnTo>
                  <a:pt x="1190269" y="19088"/>
                </a:lnTo>
                <a:lnTo>
                  <a:pt x="1174737" y="58381"/>
                </a:lnTo>
                <a:lnTo>
                  <a:pt x="1189028" y="58381"/>
                </a:lnTo>
                <a:lnTo>
                  <a:pt x="1199083" y="34544"/>
                </a:lnTo>
                <a:lnTo>
                  <a:pt x="1214012" y="34544"/>
                </a:lnTo>
                <a:lnTo>
                  <a:pt x="1207884" y="19088"/>
                </a:lnTo>
                <a:close/>
              </a:path>
              <a:path w="1256665" h="92075">
                <a:moveTo>
                  <a:pt x="1256588" y="19088"/>
                </a:moveTo>
                <a:lnTo>
                  <a:pt x="1240091" y="19088"/>
                </a:lnTo>
                <a:lnTo>
                  <a:pt x="1223429" y="58293"/>
                </a:lnTo>
                <a:lnTo>
                  <a:pt x="1238949" y="58293"/>
                </a:lnTo>
                <a:lnTo>
                  <a:pt x="1256588" y="19088"/>
                </a:lnTo>
                <a:close/>
              </a:path>
              <a:path w="1256665" h="92075">
                <a:moveTo>
                  <a:pt x="1104366" y="18224"/>
                </a:moveTo>
                <a:lnTo>
                  <a:pt x="1089978" y="19704"/>
                </a:lnTo>
                <a:lnTo>
                  <a:pt x="1078855" y="24364"/>
                </a:lnTo>
                <a:lnTo>
                  <a:pt x="1071680" y="32540"/>
                </a:lnTo>
                <a:lnTo>
                  <a:pt x="1069136" y="44564"/>
                </a:lnTo>
                <a:lnTo>
                  <a:pt x="1071680" y="56531"/>
                </a:lnTo>
                <a:lnTo>
                  <a:pt x="1078855" y="64681"/>
                </a:lnTo>
                <a:lnTo>
                  <a:pt x="1089978" y="69335"/>
                </a:lnTo>
                <a:lnTo>
                  <a:pt x="1104366" y="70815"/>
                </a:lnTo>
                <a:lnTo>
                  <a:pt x="1118724" y="69335"/>
                </a:lnTo>
                <a:lnTo>
                  <a:pt x="1129855" y="64681"/>
                </a:lnTo>
                <a:lnTo>
                  <a:pt x="1135351" y="58458"/>
                </a:lnTo>
                <a:lnTo>
                  <a:pt x="1090637" y="58458"/>
                </a:lnTo>
                <a:lnTo>
                  <a:pt x="1083906" y="55092"/>
                </a:lnTo>
                <a:lnTo>
                  <a:pt x="1083906" y="33934"/>
                </a:lnTo>
                <a:lnTo>
                  <a:pt x="1090637" y="30568"/>
                </a:lnTo>
                <a:lnTo>
                  <a:pt x="1135317" y="30568"/>
                </a:lnTo>
                <a:lnTo>
                  <a:pt x="1129855" y="24364"/>
                </a:lnTo>
                <a:lnTo>
                  <a:pt x="1118724" y="19704"/>
                </a:lnTo>
                <a:lnTo>
                  <a:pt x="1104366" y="18224"/>
                </a:lnTo>
                <a:close/>
              </a:path>
              <a:path w="1256665" h="92075">
                <a:moveTo>
                  <a:pt x="1135317" y="30568"/>
                </a:moveTo>
                <a:lnTo>
                  <a:pt x="1118019" y="30568"/>
                </a:lnTo>
                <a:lnTo>
                  <a:pt x="1124750" y="33934"/>
                </a:lnTo>
                <a:lnTo>
                  <a:pt x="1124750" y="55092"/>
                </a:lnTo>
                <a:lnTo>
                  <a:pt x="1118019" y="58458"/>
                </a:lnTo>
                <a:lnTo>
                  <a:pt x="1135351" y="58458"/>
                </a:lnTo>
                <a:lnTo>
                  <a:pt x="1137052" y="56531"/>
                </a:lnTo>
                <a:lnTo>
                  <a:pt x="1139609" y="44564"/>
                </a:lnTo>
                <a:lnTo>
                  <a:pt x="1137052" y="32540"/>
                </a:lnTo>
                <a:lnTo>
                  <a:pt x="1135317" y="30568"/>
                </a:lnTo>
                <a:close/>
              </a:path>
              <a:path w="1256665" h="92075">
                <a:moveTo>
                  <a:pt x="1058354" y="863"/>
                </a:moveTo>
                <a:lnTo>
                  <a:pt x="1043584" y="863"/>
                </a:lnTo>
                <a:lnTo>
                  <a:pt x="1043584" y="69951"/>
                </a:lnTo>
                <a:lnTo>
                  <a:pt x="1058354" y="69951"/>
                </a:lnTo>
                <a:lnTo>
                  <a:pt x="1058354" y="863"/>
                </a:lnTo>
                <a:close/>
              </a:path>
              <a:path w="1256665" h="92075">
                <a:moveTo>
                  <a:pt x="1011313" y="31432"/>
                </a:moveTo>
                <a:lnTo>
                  <a:pt x="996467" y="31432"/>
                </a:lnTo>
                <a:lnTo>
                  <a:pt x="996467" y="69951"/>
                </a:lnTo>
                <a:lnTo>
                  <a:pt x="1011313" y="69951"/>
                </a:lnTo>
                <a:lnTo>
                  <a:pt x="1011313" y="31432"/>
                </a:lnTo>
                <a:close/>
              </a:path>
              <a:path w="1256665" h="92075">
                <a:moveTo>
                  <a:pt x="1032814" y="19088"/>
                </a:moveTo>
                <a:lnTo>
                  <a:pt x="983081" y="19088"/>
                </a:lnTo>
                <a:lnTo>
                  <a:pt x="983081" y="31432"/>
                </a:lnTo>
                <a:lnTo>
                  <a:pt x="1032814" y="31432"/>
                </a:lnTo>
                <a:lnTo>
                  <a:pt x="1032814" y="19088"/>
                </a:lnTo>
                <a:close/>
              </a:path>
              <a:path w="1256665" h="92075">
                <a:moveTo>
                  <a:pt x="1025296" y="0"/>
                </a:moveTo>
                <a:lnTo>
                  <a:pt x="1017523" y="0"/>
                </a:lnTo>
                <a:lnTo>
                  <a:pt x="1007970" y="931"/>
                </a:lnTo>
                <a:lnTo>
                  <a:pt x="1001428" y="3759"/>
                </a:lnTo>
                <a:lnTo>
                  <a:pt x="997669" y="8529"/>
                </a:lnTo>
                <a:lnTo>
                  <a:pt x="996467" y="15290"/>
                </a:lnTo>
                <a:lnTo>
                  <a:pt x="996467" y="19088"/>
                </a:lnTo>
                <a:lnTo>
                  <a:pt x="1011313" y="19088"/>
                </a:lnTo>
                <a:lnTo>
                  <a:pt x="1011567" y="12700"/>
                </a:lnTo>
                <a:lnTo>
                  <a:pt x="1013726" y="10883"/>
                </a:lnTo>
                <a:lnTo>
                  <a:pt x="1032814" y="10883"/>
                </a:lnTo>
                <a:lnTo>
                  <a:pt x="1032814" y="863"/>
                </a:lnTo>
                <a:lnTo>
                  <a:pt x="1025296" y="0"/>
                </a:lnTo>
                <a:close/>
              </a:path>
              <a:path w="1256665" h="92075">
                <a:moveTo>
                  <a:pt x="1032814" y="10883"/>
                </a:moveTo>
                <a:lnTo>
                  <a:pt x="1025994" y="10883"/>
                </a:lnTo>
                <a:lnTo>
                  <a:pt x="1029449" y="11061"/>
                </a:lnTo>
                <a:lnTo>
                  <a:pt x="1032814" y="11315"/>
                </a:lnTo>
                <a:lnTo>
                  <a:pt x="1032814" y="10883"/>
                </a:lnTo>
                <a:close/>
              </a:path>
              <a:path w="1256665" h="92075">
                <a:moveTo>
                  <a:pt x="926706" y="863"/>
                </a:moveTo>
                <a:lnTo>
                  <a:pt x="911936" y="863"/>
                </a:lnTo>
                <a:lnTo>
                  <a:pt x="911936" y="69951"/>
                </a:lnTo>
                <a:lnTo>
                  <a:pt x="926706" y="69951"/>
                </a:lnTo>
                <a:lnTo>
                  <a:pt x="926706" y="863"/>
                </a:lnTo>
                <a:close/>
              </a:path>
              <a:path w="1256665" h="92075">
                <a:moveTo>
                  <a:pt x="870343" y="37401"/>
                </a:moveTo>
                <a:lnTo>
                  <a:pt x="861631" y="37401"/>
                </a:lnTo>
                <a:lnTo>
                  <a:pt x="850026" y="38252"/>
                </a:lnTo>
                <a:lnTo>
                  <a:pt x="840244" y="41117"/>
                </a:lnTo>
                <a:lnTo>
                  <a:pt x="833492" y="46461"/>
                </a:lnTo>
                <a:lnTo>
                  <a:pt x="830973" y="54749"/>
                </a:lnTo>
                <a:lnTo>
                  <a:pt x="832585" y="62103"/>
                </a:lnTo>
                <a:lnTo>
                  <a:pt x="837199" y="67087"/>
                </a:lnTo>
                <a:lnTo>
                  <a:pt x="844486" y="69919"/>
                </a:lnTo>
                <a:lnTo>
                  <a:pt x="854113" y="70815"/>
                </a:lnTo>
                <a:lnTo>
                  <a:pt x="862743" y="70313"/>
                </a:lnTo>
                <a:lnTo>
                  <a:pt x="870702" y="68880"/>
                </a:lnTo>
                <a:lnTo>
                  <a:pt x="878094" y="66620"/>
                </a:lnTo>
                <a:lnTo>
                  <a:pt x="885024" y="63639"/>
                </a:lnTo>
                <a:lnTo>
                  <a:pt x="899871" y="63639"/>
                </a:lnTo>
                <a:lnTo>
                  <a:pt x="899871" y="59931"/>
                </a:lnTo>
                <a:lnTo>
                  <a:pt x="850658" y="59931"/>
                </a:lnTo>
                <a:lnTo>
                  <a:pt x="845731" y="59499"/>
                </a:lnTo>
                <a:lnTo>
                  <a:pt x="845731" y="48971"/>
                </a:lnTo>
                <a:lnTo>
                  <a:pt x="852385" y="47066"/>
                </a:lnTo>
                <a:lnTo>
                  <a:pt x="899871" y="47066"/>
                </a:lnTo>
                <a:lnTo>
                  <a:pt x="899871" y="44297"/>
                </a:lnTo>
                <a:lnTo>
                  <a:pt x="899248" y="41021"/>
                </a:lnTo>
                <a:lnTo>
                  <a:pt x="885024" y="41021"/>
                </a:lnTo>
                <a:lnTo>
                  <a:pt x="878382" y="38773"/>
                </a:lnTo>
                <a:lnTo>
                  <a:pt x="870343" y="37401"/>
                </a:lnTo>
                <a:close/>
              </a:path>
              <a:path w="1256665" h="92075">
                <a:moveTo>
                  <a:pt x="899871" y="63639"/>
                </a:moveTo>
                <a:lnTo>
                  <a:pt x="885024" y="63639"/>
                </a:lnTo>
                <a:lnTo>
                  <a:pt x="885024" y="69951"/>
                </a:lnTo>
                <a:lnTo>
                  <a:pt x="899871" y="69951"/>
                </a:lnTo>
                <a:lnTo>
                  <a:pt x="899871" y="63639"/>
                </a:lnTo>
                <a:close/>
              </a:path>
              <a:path w="1256665" h="92075">
                <a:moveTo>
                  <a:pt x="899871" y="47066"/>
                </a:moveTo>
                <a:lnTo>
                  <a:pt x="872858" y="47066"/>
                </a:lnTo>
                <a:lnTo>
                  <a:pt x="879843" y="48526"/>
                </a:lnTo>
                <a:lnTo>
                  <a:pt x="885024" y="50177"/>
                </a:lnTo>
                <a:lnTo>
                  <a:pt x="885024" y="54152"/>
                </a:lnTo>
                <a:lnTo>
                  <a:pt x="878782" y="56432"/>
                </a:lnTo>
                <a:lnTo>
                  <a:pt x="871850" y="58266"/>
                </a:lnTo>
                <a:lnTo>
                  <a:pt x="864834" y="59487"/>
                </a:lnTo>
                <a:lnTo>
                  <a:pt x="858342" y="59931"/>
                </a:lnTo>
                <a:lnTo>
                  <a:pt x="899871" y="59931"/>
                </a:lnTo>
                <a:lnTo>
                  <a:pt x="899871" y="47066"/>
                </a:lnTo>
                <a:close/>
              </a:path>
              <a:path w="1256665" h="92075">
                <a:moveTo>
                  <a:pt x="896313" y="30568"/>
                </a:moveTo>
                <a:lnTo>
                  <a:pt x="872591" y="30568"/>
                </a:lnTo>
                <a:lnTo>
                  <a:pt x="885024" y="31356"/>
                </a:lnTo>
                <a:lnTo>
                  <a:pt x="885024" y="41021"/>
                </a:lnTo>
                <a:lnTo>
                  <a:pt x="899248" y="41021"/>
                </a:lnTo>
                <a:lnTo>
                  <a:pt x="897554" y="32101"/>
                </a:lnTo>
                <a:lnTo>
                  <a:pt x="896313" y="30568"/>
                </a:lnTo>
                <a:close/>
              </a:path>
              <a:path w="1256665" h="92075">
                <a:moveTo>
                  <a:pt x="866381" y="18224"/>
                </a:moveTo>
                <a:lnTo>
                  <a:pt x="858482" y="18572"/>
                </a:lnTo>
                <a:lnTo>
                  <a:pt x="850692" y="19592"/>
                </a:lnTo>
                <a:lnTo>
                  <a:pt x="842951" y="21246"/>
                </a:lnTo>
                <a:lnTo>
                  <a:pt x="835202" y="23495"/>
                </a:lnTo>
                <a:lnTo>
                  <a:pt x="840473" y="34277"/>
                </a:lnTo>
                <a:lnTo>
                  <a:pt x="847882" y="32390"/>
                </a:lnTo>
                <a:lnTo>
                  <a:pt x="854502" y="31261"/>
                </a:lnTo>
                <a:lnTo>
                  <a:pt x="860409" y="30712"/>
                </a:lnTo>
                <a:lnTo>
                  <a:pt x="865682" y="30568"/>
                </a:lnTo>
                <a:lnTo>
                  <a:pt x="896313" y="30568"/>
                </a:lnTo>
                <a:lnTo>
                  <a:pt x="891027" y="24041"/>
                </a:lnTo>
                <a:lnTo>
                  <a:pt x="880549" y="19590"/>
                </a:lnTo>
                <a:lnTo>
                  <a:pt x="866381" y="18224"/>
                </a:lnTo>
                <a:close/>
              </a:path>
              <a:path w="1256665" h="92075">
                <a:moveTo>
                  <a:pt x="796963" y="31432"/>
                </a:moveTo>
                <a:lnTo>
                  <a:pt x="782116" y="31432"/>
                </a:lnTo>
                <a:lnTo>
                  <a:pt x="782116" y="54673"/>
                </a:lnTo>
                <a:lnTo>
                  <a:pt x="783645" y="61926"/>
                </a:lnTo>
                <a:lnTo>
                  <a:pt x="787992" y="66949"/>
                </a:lnTo>
                <a:lnTo>
                  <a:pt x="794798" y="69870"/>
                </a:lnTo>
                <a:lnTo>
                  <a:pt x="803706" y="70815"/>
                </a:lnTo>
                <a:lnTo>
                  <a:pt x="810526" y="70815"/>
                </a:lnTo>
                <a:lnTo>
                  <a:pt x="816140" y="70383"/>
                </a:lnTo>
                <a:lnTo>
                  <a:pt x="821054" y="69507"/>
                </a:lnTo>
                <a:lnTo>
                  <a:pt x="821054" y="58458"/>
                </a:lnTo>
                <a:lnTo>
                  <a:pt x="798868" y="58458"/>
                </a:lnTo>
                <a:lnTo>
                  <a:pt x="796963" y="55956"/>
                </a:lnTo>
                <a:lnTo>
                  <a:pt x="796963" y="31432"/>
                </a:lnTo>
                <a:close/>
              </a:path>
              <a:path w="1256665" h="92075">
                <a:moveTo>
                  <a:pt x="821054" y="57607"/>
                </a:moveTo>
                <a:lnTo>
                  <a:pt x="815098" y="58458"/>
                </a:lnTo>
                <a:lnTo>
                  <a:pt x="821054" y="58458"/>
                </a:lnTo>
                <a:lnTo>
                  <a:pt x="821054" y="57607"/>
                </a:lnTo>
                <a:close/>
              </a:path>
              <a:path w="1256665" h="92075">
                <a:moveTo>
                  <a:pt x="821054" y="19088"/>
                </a:moveTo>
                <a:lnTo>
                  <a:pt x="768730" y="19088"/>
                </a:lnTo>
                <a:lnTo>
                  <a:pt x="768730" y="31432"/>
                </a:lnTo>
                <a:lnTo>
                  <a:pt x="821054" y="31432"/>
                </a:lnTo>
                <a:lnTo>
                  <a:pt x="821054" y="19088"/>
                </a:lnTo>
                <a:close/>
              </a:path>
              <a:path w="1256665" h="92075">
                <a:moveTo>
                  <a:pt x="796963" y="4318"/>
                </a:moveTo>
                <a:lnTo>
                  <a:pt x="782116" y="8547"/>
                </a:lnTo>
                <a:lnTo>
                  <a:pt x="782116" y="19088"/>
                </a:lnTo>
                <a:lnTo>
                  <a:pt x="796963" y="19088"/>
                </a:lnTo>
                <a:lnTo>
                  <a:pt x="796963" y="4318"/>
                </a:lnTo>
                <a:close/>
              </a:path>
              <a:path w="1256665" h="92075">
                <a:moveTo>
                  <a:pt x="758456" y="19088"/>
                </a:moveTo>
                <a:lnTo>
                  <a:pt x="743699" y="19088"/>
                </a:lnTo>
                <a:lnTo>
                  <a:pt x="743699" y="69951"/>
                </a:lnTo>
                <a:lnTo>
                  <a:pt x="758456" y="69951"/>
                </a:lnTo>
                <a:lnTo>
                  <a:pt x="758456" y="19088"/>
                </a:lnTo>
                <a:close/>
              </a:path>
              <a:path w="1256665" h="92075">
                <a:moveTo>
                  <a:pt x="758456" y="863"/>
                </a:moveTo>
                <a:lnTo>
                  <a:pt x="743699" y="863"/>
                </a:lnTo>
                <a:lnTo>
                  <a:pt x="743699" y="13728"/>
                </a:lnTo>
                <a:lnTo>
                  <a:pt x="758456" y="13728"/>
                </a:lnTo>
                <a:lnTo>
                  <a:pt x="758456" y="863"/>
                </a:lnTo>
                <a:close/>
              </a:path>
              <a:path w="1256665" h="92075">
                <a:moveTo>
                  <a:pt x="666610" y="75565"/>
                </a:moveTo>
                <a:lnTo>
                  <a:pt x="666610" y="87477"/>
                </a:lnTo>
                <a:lnTo>
                  <a:pt x="671585" y="88657"/>
                </a:lnTo>
                <a:lnTo>
                  <a:pt x="678845" y="89989"/>
                </a:lnTo>
                <a:lnTo>
                  <a:pt x="687950" y="91078"/>
                </a:lnTo>
                <a:lnTo>
                  <a:pt x="698461" y="91528"/>
                </a:lnTo>
                <a:lnTo>
                  <a:pt x="711770" y="89802"/>
                </a:lnTo>
                <a:lnTo>
                  <a:pt x="722266" y="84448"/>
                </a:lnTo>
                <a:lnTo>
                  <a:pt x="726188" y="79184"/>
                </a:lnTo>
                <a:lnTo>
                  <a:pt x="695185" y="79184"/>
                </a:lnTo>
                <a:lnTo>
                  <a:pt x="686821" y="78776"/>
                </a:lnTo>
                <a:lnTo>
                  <a:pt x="678921" y="77793"/>
                </a:lnTo>
                <a:lnTo>
                  <a:pt x="672009" y="76602"/>
                </a:lnTo>
                <a:lnTo>
                  <a:pt x="666610" y="75565"/>
                </a:lnTo>
                <a:close/>
              </a:path>
              <a:path w="1256665" h="92075">
                <a:moveTo>
                  <a:pt x="731621" y="60274"/>
                </a:moveTo>
                <a:lnTo>
                  <a:pt x="716775" y="60274"/>
                </a:lnTo>
                <a:lnTo>
                  <a:pt x="715294" y="68731"/>
                </a:lnTo>
                <a:lnTo>
                  <a:pt x="711485" y="74620"/>
                </a:lnTo>
                <a:lnTo>
                  <a:pt x="704923" y="78063"/>
                </a:lnTo>
                <a:lnTo>
                  <a:pt x="695185" y="79184"/>
                </a:lnTo>
                <a:lnTo>
                  <a:pt x="726188" y="79184"/>
                </a:lnTo>
                <a:lnTo>
                  <a:pt x="729149" y="75209"/>
                </a:lnTo>
                <a:lnTo>
                  <a:pt x="731621" y="61823"/>
                </a:lnTo>
                <a:lnTo>
                  <a:pt x="731621" y="60274"/>
                </a:lnTo>
                <a:close/>
              </a:path>
              <a:path w="1256665" h="92075">
                <a:moveTo>
                  <a:pt x="691045" y="18224"/>
                </a:moveTo>
                <a:lnTo>
                  <a:pt x="679021" y="19691"/>
                </a:lnTo>
                <a:lnTo>
                  <a:pt x="669570" y="24268"/>
                </a:lnTo>
                <a:lnTo>
                  <a:pt x="663389" y="32213"/>
                </a:lnTo>
                <a:lnTo>
                  <a:pt x="661174" y="43789"/>
                </a:lnTo>
                <a:lnTo>
                  <a:pt x="663389" y="55352"/>
                </a:lnTo>
                <a:lnTo>
                  <a:pt x="669570" y="63295"/>
                </a:lnTo>
                <a:lnTo>
                  <a:pt x="679021" y="67872"/>
                </a:lnTo>
                <a:lnTo>
                  <a:pt x="691045" y="69342"/>
                </a:lnTo>
                <a:lnTo>
                  <a:pt x="699399" y="68727"/>
                </a:lnTo>
                <a:lnTo>
                  <a:pt x="706467" y="66946"/>
                </a:lnTo>
                <a:lnTo>
                  <a:pt x="712256" y="64096"/>
                </a:lnTo>
                <a:lnTo>
                  <a:pt x="716775" y="60274"/>
                </a:lnTo>
                <a:lnTo>
                  <a:pt x="731621" y="60274"/>
                </a:lnTo>
                <a:lnTo>
                  <a:pt x="731621" y="56997"/>
                </a:lnTo>
                <a:lnTo>
                  <a:pt x="682497" y="56997"/>
                </a:lnTo>
                <a:lnTo>
                  <a:pt x="675932" y="53111"/>
                </a:lnTo>
                <a:lnTo>
                  <a:pt x="675932" y="34467"/>
                </a:lnTo>
                <a:lnTo>
                  <a:pt x="682497" y="30568"/>
                </a:lnTo>
                <a:lnTo>
                  <a:pt x="731621" y="30568"/>
                </a:lnTo>
                <a:lnTo>
                  <a:pt x="731621" y="27292"/>
                </a:lnTo>
                <a:lnTo>
                  <a:pt x="716775" y="27292"/>
                </a:lnTo>
                <a:lnTo>
                  <a:pt x="712306" y="23475"/>
                </a:lnTo>
                <a:lnTo>
                  <a:pt x="706534" y="20624"/>
                </a:lnTo>
                <a:lnTo>
                  <a:pt x="699449" y="18841"/>
                </a:lnTo>
                <a:lnTo>
                  <a:pt x="691045" y="18224"/>
                </a:lnTo>
                <a:close/>
              </a:path>
              <a:path w="1256665" h="92075">
                <a:moveTo>
                  <a:pt x="731621" y="30568"/>
                </a:moveTo>
                <a:lnTo>
                  <a:pt x="710298" y="30568"/>
                </a:lnTo>
                <a:lnTo>
                  <a:pt x="716775" y="34467"/>
                </a:lnTo>
                <a:lnTo>
                  <a:pt x="716775" y="53111"/>
                </a:lnTo>
                <a:lnTo>
                  <a:pt x="710298" y="56997"/>
                </a:lnTo>
                <a:lnTo>
                  <a:pt x="731621" y="56997"/>
                </a:lnTo>
                <a:lnTo>
                  <a:pt x="731621" y="30568"/>
                </a:lnTo>
                <a:close/>
              </a:path>
              <a:path w="1256665" h="92075">
                <a:moveTo>
                  <a:pt x="731621" y="19088"/>
                </a:moveTo>
                <a:lnTo>
                  <a:pt x="716775" y="19088"/>
                </a:lnTo>
                <a:lnTo>
                  <a:pt x="716775" y="27292"/>
                </a:lnTo>
                <a:lnTo>
                  <a:pt x="731621" y="27292"/>
                </a:lnTo>
                <a:lnTo>
                  <a:pt x="731621" y="19088"/>
                </a:lnTo>
                <a:close/>
              </a:path>
              <a:path w="1256665" h="92075">
                <a:moveTo>
                  <a:pt x="650379" y="19088"/>
                </a:moveTo>
                <a:lnTo>
                  <a:pt x="635609" y="19088"/>
                </a:lnTo>
                <a:lnTo>
                  <a:pt x="635609" y="69951"/>
                </a:lnTo>
                <a:lnTo>
                  <a:pt x="650379" y="69951"/>
                </a:lnTo>
                <a:lnTo>
                  <a:pt x="650379" y="19088"/>
                </a:lnTo>
                <a:close/>
              </a:path>
              <a:path w="1256665" h="92075">
                <a:moveTo>
                  <a:pt x="650379" y="863"/>
                </a:moveTo>
                <a:lnTo>
                  <a:pt x="635609" y="863"/>
                </a:lnTo>
                <a:lnTo>
                  <a:pt x="635609" y="13728"/>
                </a:lnTo>
                <a:lnTo>
                  <a:pt x="650379" y="13728"/>
                </a:lnTo>
                <a:lnTo>
                  <a:pt x="650379" y="863"/>
                </a:lnTo>
                <a:close/>
              </a:path>
              <a:path w="1256665" h="92075">
                <a:moveTo>
                  <a:pt x="583387" y="18224"/>
                </a:moveTo>
                <a:lnTo>
                  <a:pt x="571773" y="19607"/>
                </a:lnTo>
                <a:lnTo>
                  <a:pt x="562121" y="24107"/>
                </a:lnTo>
                <a:lnTo>
                  <a:pt x="555526" y="32251"/>
                </a:lnTo>
                <a:lnTo>
                  <a:pt x="553084" y="44564"/>
                </a:lnTo>
                <a:lnTo>
                  <a:pt x="555526" y="56863"/>
                </a:lnTo>
                <a:lnTo>
                  <a:pt x="562121" y="64976"/>
                </a:lnTo>
                <a:lnTo>
                  <a:pt x="571773" y="69445"/>
                </a:lnTo>
                <a:lnTo>
                  <a:pt x="583387" y="70815"/>
                </a:lnTo>
                <a:lnTo>
                  <a:pt x="591206" y="70252"/>
                </a:lnTo>
                <a:lnTo>
                  <a:pt x="598125" y="68580"/>
                </a:lnTo>
                <a:lnTo>
                  <a:pt x="604025" y="65821"/>
                </a:lnTo>
                <a:lnTo>
                  <a:pt x="608787" y="62001"/>
                </a:lnTo>
                <a:lnTo>
                  <a:pt x="623544" y="62001"/>
                </a:lnTo>
                <a:lnTo>
                  <a:pt x="623544" y="58458"/>
                </a:lnTo>
                <a:lnTo>
                  <a:pt x="575106" y="58458"/>
                </a:lnTo>
                <a:lnTo>
                  <a:pt x="567943" y="54571"/>
                </a:lnTo>
                <a:lnTo>
                  <a:pt x="567943" y="34467"/>
                </a:lnTo>
                <a:lnTo>
                  <a:pt x="575106" y="30568"/>
                </a:lnTo>
                <a:lnTo>
                  <a:pt x="623544" y="30568"/>
                </a:lnTo>
                <a:lnTo>
                  <a:pt x="623544" y="27025"/>
                </a:lnTo>
                <a:lnTo>
                  <a:pt x="608787" y="27025"/>
                </a:lnTo>
                <a:lnTo>
                  <a:pt x="604025" y="23212"/>
                </a:lnTo>
                <a:lnTo>
                  <a:pt x="598125" y="20458"/>
                </a:lnTo>
                <a:lnTo>
                  <a:pt x="591206" y="18787"/>
                </a:lnTo>
                <a:lnTo>
                  <a:pt x="583387" y="18224"/>
                </a:lnTo>
                <a:close/>
              </a:path>
              <a:path w="1256665" h="92075">
                <a:moveTo>
                  <a:pt x="623544" y="62001"/>
                </a:moveTo>
                <a:lnTo>
                  <a:pt x="608787" y="62001"/>
                </a:lnTo>
                <a:lnTo>
                  <a:pt x="608787" y="69951"/>
                </a:lnTo>
                <a:lnTo>
                  <a:pt x="623544" y="69951"/>
                </a:lnTo>
                <a:lnTo>
                  <a:pt x="623544" y="62001"/>
                </a:lnTo>
                <a:close/>
              </a:path>
              <a:path w="1256665" h="92075">
                <a:moveTo>
                  <a:pt x="623544" y="30568"/>
                </a:moveTo>
                <a:lnTo>
                  <a:pt x="601522" y="30568"/>
                </a:lnTo>
                <a:lnTo>
                  <a:pt x="608787" y="34467"/>
                </a:lnTo>
                <a:lnTo>
                  <a:pt x="608787" y="54571"/>
                </a:lnTo>
                <a:lnTo>
                  <a:pt x="601522" y="58458"/>
                </a:lnTo>
                <a:lnTo>
                  <a:pt x="623544" y="58458"/>
                </a:lnTo>
                <a:lnTo>
                  <a:pt x="623544" y="30568"/>
                </a:lnTo>
                <a:close/>
              </a:path>
              <a:path w="1256665" h="92075">
                <a:moveTo>
                  <a:pt x="623544" y="863"/>
                </a:moveTo>
                <a:lnTo>
                  <a:pt x="608787" y="863"/>
                </a:lnTo>
                <a:lnTo>
                  <a:pt x="608787" y="27025"/>
                </a:lnTo>
                <a:lnTo>
                  <a:pt x="623544" y="27025"/>
                </a:lnTo>
                <a:lnTo>
                  <a:pt x="623544" y="863"/>
                </a:lnTo>
                <a:close/>
              </a:path>
              <a:path w="1256665" h="92075">
                <a:moveTo>
                  <a:pt x="462800" y="18224"/>
                </a:moveTo>
                <a:lnTo>
                  <a:pt x="448589" y="19704"/>
                </a:lnTo>
                <a:lnTo>
                  <a:pt x="437446" y="24364"/>
                </a:lnTo>
                <a:lnTo>
                  <a:pt x="430173" y="32540"/>
                </a:lnTo>
                <a:lnTo>
                  <a:pt x="427570" y="44564"/>
                </a:lnTo>
                <a:lnTo>
                  <a:pt x="430220" y="56531"/>
                </a:lnTo>
                <a:lnTo>
                  <a:pt x="437500" y="64681"/>
                </a:lnTo>
                <a:lnTo>
                  <a:pt x="448407" y="69335"/>
                </a:lnTo>
                <a:lnTo>
                  <a:pt x="461937" y="70815"/>
                </a:lnTo>
                <a:lnTo>
                  <a:pt x="474841" y="69652"/>
                </a:lnTo>
                <a:lnTo>
                  <a:pt x="485132" y="66124"/>
                </a:lnTo>
                <a:lnTo>
                  <a:pt x="492524" y="60169"/>
                </a:lnTo>
                <a:lnTo>
                  <a:pt x="493200" y="58813"/>
                </a:lnTo>
                <a:lnTo>
                  <a:pt x="452094" y="58813"/>
                </a:lnTo>
                <a:lnTo>
                  <a:pt x="444322" y="56134"/>
                </a:lnTo>
                <a:lnTo>
                  <a:pt x="442683" y="48006"/>
                </a:lnTo>
                <a:lnTo>
                  <a:pt x="497585" y="48006"/>
                </a:lnTo>
                <a:lnTo>
                  <a:pt x="495815" y="38608"/>
                </a:lnTo>
                <a:lnTo>
                  <a:pt x="443191" y="38608"/>
                </a:lnTo>
                <a:lnTo>
                  <a:pt x="445528" y="31432"/>
                </a:lnTo>
                <a:lnTo>
                  <a:pt x="452615" y="29451"/>
                </a:lnTo>
                <a:lnTo>
                  <a:pt x="491513" y="29451"/>
                </a:lnTo>
                <a:lnTo>
                  <a:pt x="487446" y="24437"/>
                </a:lnTo>
                <a:lnTo>
                  <a:pt x="476395" y="19623"/>
                </a:lnTo>
                <a:lnTo>
                  <a:pt x="462800" y="18224"/>
                </a:lnTo>
                <a:close/>
              </a:path>
              <a:path w="1256665" h="92075">
                <a:moveTo>
                  <a:pt x="496735" y="51727"/>
                </a:moveTo>
                <a:lnTo>
                  <a:pt x="482053" y="51727"/>
                </a:lnTo>
                <a:lnTo>
                  <a:pt x="478345" y="56908"/>
                </a:lnTo>
                <a:lnTo>
                  <a:pt x="472122" y="58813"/>
                </a:lnTo>
                <a:lnTo>
                  <a:pt x="493200" y="58813"/>
                </a:lnTo>
                <a:lnTo>
                  <a:pt x="496735" y="51727"/>
                </a:lnTo>
                <a:close/>
              </a:path>
              <a:path w="1256665" h="92075">
                <a:moveTo>
                  <a:pt x="491513" y="29451"/>
                </a:moveTo>
                <a:lnTo>
                  <a:pt x="472046" y="29451"/>
                </a:lnTo>
                <a:lnTo>
                  <a:pt x="479297" y="31432"/>
                </a:lnTo>
                <a:lnTo>
                  <a:pt x="481787" y="38608"/>
                </a:lnTo>
                <a:lnTo>
                  <a:pt x="495815" y="38608"/>
                </a:lnTo>
                <a:lnTo>
                  <a:pt x="494870" y="33590"/>
                </a:lnTo>
                <a:lnTo>
                  <a:pt x="491513" y="29451"/>
                </a:lnTo>
                <a:close/>
              </a:path>
              <a:path w="1256665" h="92075">
                <a:moveTo>
                  <a:pt x="368858" y="19088"/>
                </a:moveTo>
                <a:lnTo>
                  <a:pt x="352463" y="19088"/>
                </a:lnTo>
                <a:lnTo>
                  <a:pt x="378193" y="69951"/>
                </a:lnTo>
                <a:lnTo>
                  <a:pt x="399262" y="69951"/>
                </a:lnTo>
                <a:lnTo>
                  <a:pt x="404565" y="59499"/>
                </a:lnTo>
                <a:lnTo>
                  <a:pt x="388810" y="59499"/>
                </a:lnTo>
                <a:lnTo>
                  <a:pt x="368858" y="19088"/>
                </a:lnTo>
                <a:close/>
              </a:path>
              <a:path w="1256665" h="92075">
                <a:moveTo>
                  <a:pt x="425068" y="19088"/>
                </a:moveTo>
                <a:lnTo>
                  <a:pt x="408673" y="19088"/>
                </a:lnTo>
                <a:lnTo>
                  <a:pt x="388810" y="59499"/>
                </a:lnTo>
                <a:lnTo>
                  <a:pt x="404565" y="59499"/>
                </a:lnTo>
                <a:lnTo>
                  <a:pt x="425068" y="19088"/>
                </a:lnTo>
                <a:close/>
              </a:path>
              <a:path w="1256665" h="92075">
                <a:moveTo>
                  <a:pt x="343052" y="19088"/>
                </a:moveTo>
                <a:lnTo>
                  <a:pt x="328282" y="19088"/>
                </a:lnTo>
                <a:lnTo>
                  <a:pt x="328282" y="69951"/>
                </a:lnTo>
                <a:lnTo>
                  <a:pt x="343052" y="69951"/>
                </a:lnTo>
                <a:lnTo>
                  <a:pt x="343052" y="19088"/>
                </a:lnTo>
                <a:close/>
              </a:path>
              <a:path w="1256665" h="92075">
                <a:moveTo>
                  <a:pt x="343052" y="863"/>
                </a:moveTo>
                <a:lnTo>
                  <a:pt x="328282" y="863"/>
                </a:lnTo>
                <a:lnTo>
                  <a:pt x="328282" y="13728"/>
                </a:lnTo>
                <a:lnTo>
                  <a:pt x="343052" y="13728"/>
                </a:lnTo>
                <a:lnTo>
                  <a:pt x="343052" y="863"/>
                </a:lnTo>
                <a:close/>
              </a:path>
              <a:path w="1256665" h="92075">
                <a:moveTo>
                  <a:pt x="293001" y="31432"/>
                </a:moveTo>
                <a:lnTo>
                  <a:pt x="278142" y="31432"/>
                </a:lnTo>
                <a:lnTo>
                  <a:pt x="278142" y="54673"/>
                </a:lnTo>
                <a:lnTo>
                  <a:pt x="279669" y="61926"/>
                </a:lnTo>
                <a:lnTo>
                  <a:pt x="284013" y="66949"/>
                </a:lnTo>
                <a:lnTo>
                  <a:pt x="290819" y="69870"/>
                </a:lnTo>
                <a:lnTo>
                  <a:pt x="299732" y="70815"/>
                </a:lnTo>
                <a:lnTo>
                  <a:pt x="306552" y="70815"/>
                </a:lnTo>
                <a:lnTo>
                  <a:pt x="312165" y="70383"/>
                </a:lnTo>
                <a:lnTo>
                  <a:pt x="317093" y="69507"/>
                </a:lnTo>
                <a:lnTo>
                  <a:pt x="317093" y="58458"/>
                </a:lnTo>
                <a:lnTo>
                  <a:pt x="294906" y="58458"/>
                </a:lnTo>
                <a:lnTo>
                  <a:pt x="293001" y="55956"/>
                </a:lnTo>
                <a:lnTo>
                  <a:pt x="293001" y="31432"/>
                </a:lnTo>
                <a:close/>
              </a:path>
              <a:path w="1256665" h="92075">
                <a:moveTo>
                  <a:pt x="317093" y="57607"/>
                </a:moveTo>
                <a:lnTo>
                  <a:pt x="311124" y="58458"/>
                </a:lnTo>
                <a:lnTo>
                  <a:pt x="317093" y="58458"/>
                </a:lnTo>
                <a:lnTo>
                  <a:pt x="317093" y="57607"/>
                </a:lnTo>
                <a:close/>
              </a:path>
              <a:path w="1256665" h="92075">
                <a:moveTo>
                  <a:pt x="317093" y="19088"/>
                </a:moveTo>
                <a:lnTo>
                  <a:pt x="264756" y="19088"/>
                </a:lnTo>
                <a:lnTo>
                  <a:pt x="264756" y="31432"/>
                </a:lnTo>
                <a:lnTo>
                  <a:pt x="317093" y="31432"/>
                </a:lnTo>
                <a:lnTo>
                  <a:pt x="317093" y="19088"/>
                </a:lnTo>
                <a:close/>
              </a:path>
              <a:path w="1256665" h="92075">
                <a:moveTo>
                  <a:pt x="293001" y="4318"/>
                </a:moveTo>
                <a:lnTo>
                  <a:pt x="278142" y="8547"/>
                </a:lnTo>
                <a:lnTo>
                  <a:pt x="278142" y="19088"/>
                </a:lnTo>
                <a:lnTo>
                  <a:pt x="293001" y="19088"/>
                </a:lnTo>
                <a:lnTo>
                  <a:pt x="293001" y="4318"/>
                </a:lnTo>
                <a:close/>
              </a:path>
              <a:path w="1256665" h="92075">
                <a:moveTo>
                  <a:pt x="254495" y="19088"/>
                </a:moveTo>
                <a:lnTo>
                  <a:pt x="239725" y="19088"/>
                </a:lnTo>
                <a:lnTo>
                  <a:pt x="239725" y="69951"/>
                </a:lnTo>
                <a:lnTo>
                  <a:pt x="254495" y="69951"/>
                </a:lnTo>
                <a:lnTo>
                  <a:pt x="254495" y="19088"/>
                </a:lnTo>
                <a:close/>
              </a:path>
              <a:path w="1256665" h="92075">
                <a:moveTo>
                  <a:pt x="254495" y="863"/>
                </a:moveTo>
                <a:lnTo>
                  <a:pt x="239725" y="863"/>
                </a:lnTo>
                <a:lnTo>
                  <a:pt x="239725" y="13728"/>
                </a:lnTo>
                <a:lnTo>
                  <a:pt x="254495" y="13728"/>
                </a:lnTo>
                <a:lnTo>
                  <a:pt x="254495" y="863"/>
                </a:lnTo>
                <a:close/>
              </a:path>
              <a:path w="1256665" h="92075">
                <a:moveTo>
                  <a:pt x="173431" y="52070"/>
                </a:moveTo>
                <a:lnTo>
                  <a:pt x="158661" y="52070"/>
                </a:lnTo>
                <a:lnTo>
                  <a:pt x="161801" y="61846"/>
                </a:lnTo>
                <a:lnTo>
                  <a:pt x="170179" y="67529"/>
                </a:lnTo>
                <a:lnTo>
                  <a:pt x="182235" y="70168"/>
                </a:lnTo>
                <a:lnTo>
                  <a:pt x="196405" y="70815"/>
                </a:lnTo>
                <a:lnTo>
                  <a:pt x="209756" y="70198"/>
                </a:lnTo>
                <a:lnTo>
                  <a:pt x="220022" y="67767"/>
                </a:lnTo>
                <a:lnTo>
                  <a:pt x="226614" y="62649"/>
                </a:lnTo>
                <a:lnTo>
                  <a:pt x="227436" y="59588"/>
                </a:lnTo>
                <a:lnTo>
                  <a:pt x="179044" y="59588"/>
                </a:lnTo>
                <a:lnTo>
                  <a:pt x="173431" y="57518"/>
                </a:lnTo>
                <a:lnTo>
                  <a:pt x="173431" y="52070"/>
                </a:lnTo>
                <a:close/>
              </a:path>
              <a:path w="1256665" h="92075">
                <a:moveTo>
                  <a:pt x="194144" y="18224"/>
                </a:moveTo>
                <a:lnTo>
                  <a:pt x="181188" y="18835"/>
                </a:lnTo>
                <a:lnTo>
                  <a:pt x="170514" y="21142"/>
                </a:lnTo>
                <a:lnTo>
                  <a:pt x="163189" y="25950"/>
                </a:lnTo>
                <a:lnTo>
                  <a:pt x="160477" y="34023"/>
                </a:lnTo>
                <a:lnTo>
                  <a:pt x="162540" y="41404"/>
                </a:lnTo>
                <a:lnTo>
                  <a:pt x="168757" y="45778"/>
                </a:lnTo>
                <a:lnTo>
                  <a:pt x="179165" y="48098"/>
                </a:lnTo>
                <a:lnTo>
                  <a:pt x="193801" y="49314"/>
                </a:lnTo>
                <a:lnTo>
                  <a:pt x="211683" y="50431"/>
                </a:lnTo>
                <a:lnTo>
                  <a:pt x="214109" y="50685"/>
                </a:lnTo>
                <a:lnTo>
                  <a:pt x="214109" y="58547"/>
                </a:lnTo>
                <a:lnTo>
                  <a:pt x="211505" y="59588"/>
                </a:lnTo>
                <a:lnTo>
                  <a:pt x="227436" y="59588"/>
                </a:lnTo>
                <a:lnTo>
                  <a:pt x="195529" y="38430"/>
                </a:lnTo>
                <a:lnTo>
                  <a:pt x="178003" y="37134"/>
                </a:lnTo>
                <a:lnTo>
                  <a:pt x="175323" y="36614"/>
                </a:lnTo>
                <a:lnTo>
                  <a:pt x="175323" y="30492"/>
                </a:lnTo>
                <a:lnTo>
                  <a:pt x="179298" y="29451"/>
                </a:lnTo>
                <a:lnTo>
                  <a:pt x="225691" y="29451"/>
                </a:lnTo>
                <a:lnTo>
                  <a:pt x="224755" y="26245"/>
                </a:lnTo>
                <a:lnTo>
                  <a:pt x="217878" y="21229"/>
                </a:lnTo>
                <a:lnTo>
                  <a:pt x="207404" y="18835"/>
                </a:lnTo>
                <a:lnTo>
                  <a:pt x="194144" y="18224"/>
                </a:lnTo>
                <a:close/>
              </a:path>
              <a:path w="1256665" h="92075">
                <a:moveTo>
                  <a:pt x="225691" y="29451"/>
                </a:moveTo>
                <a:lnTo>
                  <a:pt x="207022" y="29451"/>
                </a:lnTo>
                <a:lnTo>
                  <a:pt x="212382" y="30492"/>
                </a:lnTo>
                <a:lnTo>
                  <a:pt x="212382" y="34721"/>
                </a:lnTo>
                <a:lnTo>
                  <a:pt x="227228" y="34721"/>
                </a:lnTo>
                <a:lnTo>
                  <a:pt x="225691" y="29451"/>
                </a:lnTo>
                <a:close/>
              </a:path>
              <a:path w="1256665" h="92075">
                <a:moveTo>
                  <a:pt x="114909" y="18224"/>
                </a:moveTo>
                <a:lnTo>
                  <a:pt x="100516" y="19704"/>
                </a:lnTo>
                <a:lnTo>
                  <a:pt x="89393" y="24364"/>
                </a:lnTo>
                <a:lnTo>
                  <a:pt x="82221" y="32540"/>
                </a:lnTo>
                <a:lnTo>
                  <a:pt x="79679" y="44564"/>
                </a:lnTo>
                <a:lnTo>
                  <a:pt x="82221" y="56531"/>
                </a:lnTo>
                <a:lnTo>
                  <a:pt x="89393" y="64681"/>
                </a:lnTo>
                <a:lnTo>
                  <a:pt x="100516" y="69335"/>
                </a:lnTo>
                <a:lnTo>
                  <a:pt x="114909" y="70815"/>
                </a:lnTo>
                <a:lnTo>
                  <a:pt x="129265" y="69335"/>
                </a:lnTo>
                <a:lnTo>
                  <a:pt x="140392" y="64681"/>
                </a:lnTo>
                <a:lnTo>
                  <a:pt x="145884" y="58458"/>
                </a:lnTo>
                <a:lnTo>
                  <a:pt x="101180" y="58458"/>
                </a:lnTo>
                <a:lnTo>
                  <a:pt x="94437" y="55092"/>
                </a:lnTo>
                <a:lnTo>
                  <a:pt x="94437" y="33934"/>
                </a:lnTo>
                <a:lnTo>
                  <a:pt x="101180" y="30568"/>
                </a:lnTo>
                <a:lnTo>
                  <a:pt x="145850" y="30568"/>
                </a:lnTo>
                <a:lnTo>
                  <a:pt x="140392" y="24364"/>
                </a:lnTo>
                <a:lnTo>
                  <a:pt x="129265" y="19704"/>
                </a:lnTo>
                <a:lnTo>
                  <a:pt x="114909" y="18224"/>
                </a:lnTo>
                <a:close/>
              </a:path>
              <a:path w="1256665" h="92075">
                <a:moveTo>
                  <a:pt x="145850" y="30568"/>
                </a:moveTo>
                <a:lnTo>
                  <a:pt x="128536" y="30568"/>
                </a:lnTo>
                <a:lnTo>
                  <a:pt x="135280" y="33934"/>
                </a:lnTo>
                <a:lnTo>
                  <a:pt x="135280" y="55092"/>
                </a:lnTo>
                <a:lnTo>
                  <a:pt x="128536" y="58458"/>
                </a:lnTo>
                <a:lnTo>
                  <a:pt x="145884" y="58458"/>
                </a:lnTo>
                <a:lnTo>
                  <a:pt x="147585" y="56531"/>
                </a:lnTo>
                <a:lnTo>
                  <a:pt x="150139" y="44564"/>
                </a:lnTo>
                <a:lnTo>
                  <a:pt x="147585" y="32540"/>
                </a:lnTo>
                <a:lnTo>
                  <a:pt x="145850" y="30568"/>
                </a:lnTo>
                <a:close/>
              </a:path>
              <a:path w="1256665" h="92075">
                <a:moveTo>
                  <a:pt x="47497" y="9512"/>
                </a:moveTo>
                <a:lnTo>
                  <a:pt x="0" y="9512"/>
                </a:lnTo>
                <a:lnTo>
                  <a:pt x="0" y="69951"/>
                </a:lnTo>
                <a:lnTo>
                  <a:pt x="15544" y="69951"/>
                </a:lnTo>
                <a:lnTo>
                  <a:pt x="15544" y="53809"/>
                </a:lnTo>
                <a:lnTo>
                  <a:pt x="47497" y="53809"/>
                </a:lnTo>
                <a:lnTo>
                  <a:pt x="56905" y="52248"/>
                </a:lnTo>
                <a:lnTo>
                  <a:pt x="64215" y="47802"/>
                </a:lnTo>
                <a:lnTo>
                  <a:pt x="68952" y="40833"/>
                </a:lnTo>
                <a:lnTo>
                  <a:pt x="15544" y="40754"/>
                </a:lnTo>
                <a:lnTo>
                  <a:pt x="15544" y="22542"/>
                </a:lnTo>
                <a:lnTo>
                  <a:pt x="68948" y="22542"/>
                </a:lnTo>
                <a:lnTo>
                  <a:pt x="64215" y="15552"/>
                </a:lnTo>
                <a:lnTo>
                  <a:pt x="56905" y="11084"/>
                </a:lnTo>
                <a:lnTo>
                  <a:pt x="47497" y="9512"/>
                </a:lnTo>
                <a:close/>
              </a:path>
              <a:path w="1256665" h="92075">
                <a:moveTo>
                  <a:pt x="68948" y="22542"/>
                </a:moveTo>
                <a:lnTo>
                  <a:pt x="55092" y="22542"/>
                </a:lnTo>
                <a:lnTo>
                  <a:pt x="55092" y="40754"/>
                </a:lnTo>
                <a:lnTo>
                  <a:pt x="68967" y="40754"/>
                </a:lnTo>
                <a:lnTo>
                  <a:pt x="70637" y="31699"/>
                </a:lnTo>
                <a:lnTo>
                  <a:pt x="68948" y="22542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751A90F7-4173-4539-90AE-F4A8B177F34B}"/>
              </a:ext>
            </a:extLst>
          </p:cNvPr>
          <p:cNvSpPr/>
          <p:nvPr userDrawn="1"/>
        </p:nvSpPr>
        <p:spPr>
          <a:xfrm>
            <a:off x="7119938" y="2743200"/>
            <a:ext cx="2228850" cy="3429000"/>
          </a:xfrm>
          <a:custGeom>
            <a:avLst/>
            <a:gdLst/>
            <a:ahLst/>
            <a:cxnLst/>
            <a:rect l="l" t="t" r="r" b="b"/>
            <a:pathLst>
              <a:path w="3657600" h="4572000">
                <a:moveTo>
                  <a:pt x="3657600" y="0"/>
                </a:moveTo>
                <a:lnTo>
                  <a:pt x="0" y="0"/>
                </a:lnTo>
                <a:lnTo>
                  <a:pt x="0" y="4572000"/>
                </a:lnTo>
                <a:lnTo>
                  <a:pt x="3657600" y="4572000"/>
                </a:lnTo>
                <a:lnTo>
                  <a:pt x="36576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2" name="object 13">
            <a:extLst>
              <a:ext uri="{FF2B5EF4-FFF2-40B4-BE49-F238E27FC236}">
                <a16:creationId xmlns:a16="http://schemas.microsoft.com/office/drawing/2014/main" id="{AEDC5B23-1647-49B1-8689-60FD3A78D068}"/>
              </a:ext>
            </a:extLst>
          </p:cNvPr>
          <p:cNvSpPr/>
          <p:nvPr/>
        </p:nvSpPr>
        <p:spPr>
          <a:xfrm>
            <a:off x="0" y="0"/>
            <a:ext cx="3219450" cy="6858000"/>
          </a:xfrm>
          <a:custGeom>
            <a:avLst/>
            <a:gdLst/>
            <a:ahLst/>
            <a:cxnLst/>
            <a:rect l="l" t="t" r="r" b="b"/>
            <a:pathLst>
              <a:path w="5283200" h="9144000">
                <a:moveTo>
                  <a:pt x="5283200" y="0"/>
                </a:moveTo>
                <a:lnTo>
                  <a:pt x="0" y="0"/>
                </a:lnTo>
                <a:lnTo>
                  <a:pt x="0" y="9144000"/>
                </a:lnTo>
                <a:lnTo>
                  <a:pt x="5283200" y="9144000"/>
                </a:lnTo>
                <a:lnTo>
                  <a:pt x="528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26" name="object 25">
            <a:extLst>
              <a:ext uri="{FF2B5EF4-FFF2-40B4-BE49-F238E27FC236}">
                <a16:creationId xmlns:a16="http://schemas.microsoft.com/office/drawing/2014/main" id="{B878D6D7-A21E-4916-A1DB-9ADACBC53B10}"/>
              </a:ext>
            </a:extLst>
          </p:cNvPr>
          <p:cNvSpPr/>
          <p:nvPr userDrawn="1"/>
        </p:nvSpPr>
        <p:spPr>
          <a:xfrm>
            <a:off x="6562725" y="1371599"/>
            <a:ext cx="1671638" cy="4800600"/>
          </a:xfrm>
          <a:custGeom>
            <a:avLst/>
            <a:gdLst/>
            <a:ahLst/>
            <a:cxnLst/>
            <a:rect l="l" t="t" r="r" b="b"/>
            <a:pathLst>
              <a:path w="2743200" h="6400800">
                <a:moveTo>
                  <a:pt x="914400" y="5486400"/>
                </a:moveTo>
                <a:lnTo>
                  <a:pt x="0" y="5486400"/>
                </a:lnTo>
                <a:lnTo>
                  <a:pt x="0" y="6400800"/>
                </a:lnTo>
                <a:lnTo>
                  <a:pt x="914400" y="6400800"/>
                </a:lnTo>
                <a:lnTo>
                  <a:pt x="914400" y="5486400"/>
                </a:lnTo>
                <a:close/>
              </a:path>
              <a:path w="2743200" h="6400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2743200" h="6400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CF9F1995-3828-492B-8E00-DABB95B1CE1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2" y="5486400"/>
            <a:ext cx="1547813" cy="685799"/>
          </a:xfrm>
          <a:noFill/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E3D4C3-7FF7-4C2C-AC1C-58D153EBB7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9473" y="1029173"/>
            <a:ext cx="2102316" cy="2114550"/>
          </a:xfrm>
        </p:spPr>
        <p:txBody>
          <a:bodyPr/>
          <a:lstStyle/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4CC0C3C-8E8C-4602-B27C-EAA9C3EB84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5736" y="1029173"/>
            <a:ext cx="2505908" cy="211455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D69663-3C24-47D3-AADB-4E2655570CE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01/09/2020  |  ©2020 Inetum  | Ref. XXXXXX v1.0</a:t>
            </a:r>
          </a:p>
          <a:p>
            <a:r>
              <a:rPr lang="en-US"/>
              <a:t>Classification: [choose internal, external or confidential] document</a:t>
            </a:r>
          </a:p>
          <a:p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52598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7841DCF2-2B94-45F3-94F5-118FE191F00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7213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7" name="Text Placeholder 18">
            <a:extLst>
              <a:ext uri="{FF2B5EF4-FFF2-40B4-BE49-F238E27FC236}">
                <a16:creationId xmlns:a16="http://schemas.microsoft.com/office/drawing/2014/main" id="{9675BD83-58FE-4C71-B90D-479A1D8BFE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18680" y="33289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 err="1"/>
              <a:t>email@inetum.world</a:t>
            </a:r>
            <a:endParaRPr lang="en-US" dirty="0"/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570C0C40-76FE-48E0-A40C-7FA39A61163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3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380F4B4-DFB8-45BA-BF39-FD12DC17938D}"/>
              </a:ext>
            </a:extLst>
          </p:cNvPr>
          <p:cNvSpPr/>
          <p:nvPr userDrawn="1"/>
        </p:nvSpPr>
        <p:spPr>
          <a:xfrm>
            <a:off x="0" y="5143500"/>
            <a:ext cx="9906000" cy="1714500"/>
          </a:xfrm>
          <a:custGeom>
            <a:avLst/>
            <a:gdLst>
              <a:gd name="connsiteX0" fmla="*/ 0 w 16256000"/>
              <a:gd name="connsiteY0" fmla="*/ 0 h 2286000"/>
              <a:gd name="connsiteX1" fmla="*/ 16256000 w 16256000"/>
              <a:gd name="connsiteY1" fmla="*/ 0 h 2286000"/>
              <a:gd name="connsiteX2" fmla="*/ 16256000 w 16256000"/>
              <a:gd name="connsiteY2" fmla="*/ 1371600 h 2286000"/>
              <a:gd name="connsiteX3" fmla="*/ 15341600 w 16256000"/>
              <a:gd name="connsiteY3" fmla="*/ 1371600 h 2286000"/>
              <a:gd name="connsiteX4" fmla="*/ 15341600 w 16256000"/>
              <a:gd name="connsiteY4" fmla="*/ 2286000 h 2286000"/>
              <a:gd name="connsiteX5" fmla="*/ 0 w 16256000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56000" h="2286000">
                <a:moveTo>
                  <a:pt x="0" y="0"/>
                </a:moveTo>
                <a:lnTo>
                  <a:pt x="16256000" y="0"/>
                </a:lnTo>
                <a:lnTo>
                  <a:pt x="16256000" y="1371600"/>
                </a:lnTo>
                <a:lnTo>
                  <a:pt x="15341600" y="1371600"/>
                </a:lnTo>
                <a:lnTo>
                  <a:pt x="15341600" y="2286000"/>
                </a:lnTo>
                <a:lnTo>
                  <a:pt x="0" y="2286000"/>
                </a:lnTo>
                <a:close/>
              </a:path>
            </a:pathLst>
          </a:custGeom>
          <a:solidFill>
            <a:srgbClr val="222C4A"/>
          </a:solidFill>
        </p:spPr>
        <p:txBody>
          <a:bodyPr wrap="square" lIns="0" tIns="0" rIns="0" bIns="0" rtlCol="0">
            <a:noAutofit/>
          </a:bodyPr>
          <a:lstStyle/>
          <a:p>
            <a:endParaRPr sz="731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FA622AA-407E-4F46-953C-4F5CFFF27758}"/>
              </a:ext>
            </a:extLst>
          </p:cNvPr>
          <p:cNvGrpSpPr/>
          <p:nvPr userDrawn="1"/>
        </p:nvGrpSpPr>
        <p:grpSpPr>
          <a:xfrm>
            <a:off x="7820355" y="5902835"/>
            <a:ext cx="215146" cy="264795"/>
            <a:chOff x="12833403" y="7870446"/>
            <a:chExt cx="353060" cy="353060"/>
          </a:xfrm>
        </p:grpSpPr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FE6F9D51-5130-443F-B1D6-66A7423C656F}"/>
                </a:ext>
              </a:extLst>
            </p:cNvPr>
            <p:cNvSpPr/>
            <p:nvPr/>
          </p:nvSpPr>
          <p:spPr>
            <a:xfrm>
              <a:off x="12833403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9D8A372B-5C39-4A64-9C1B-63367CD65657}"/>
                </a:ext>
              </a:extLst>
            </p:cNvPr>
            <p:cNvSpPr/>
            <p:nvPr/>
          </p:nvSpPr>
          <p:spPr>
            <a:xfrm>
              <a:off x="12956971" y="7938711"/>
              <a:ext cx="105664" cy="21626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B1B7B49-0DA0-45B6-8E19-E1D65283D0ED}"/>
              </a:ext>
            </a:extLst>
          </p:cNvPr>
          <p:cNvGrpSpPr/>
          <p:nvPr userDrawn="1"/>
        </p:nvGrpSpPr>
        <p:grpSpPr>
          <a:xfrm>
            <a:off x="8147748" y="5902835"/>
            <a:ext cx="215146" cy="264795"/>
            <a:chOff x="13370664" y="7870446"/>
            <a:chExt cx="353060" cy="353060"/>
          </a:xfrm>
        </p:grpSpPr>
        <p:sp>
          <p:nvSpPr>
            <p:cNvPr id="18" name="object 16">
              <a:extLst>
                <a:ext uri="{FF2B5EF4-FFF2-40B4-BE49-F238E27FC236}">
                  <a16:creationId xmlns:a16="http://schemas.microsoft.com/office/drawing/2014/main" id="{656B5F96-588D-4950-953A-24C2FAA305BA}"/>
                </a:ext>
              </a:extLst>
            </p:cNvPr>
            <p:cNvSpPr/>
            <p:nvPr/>
          </p:nvSpPr>
          <p:spPr>
            <a:xfrm>
              <a:off x="13370664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9" name="object 17">
              <a:extLst>
                <a:ext uri="{FF2B5EF4-FFF2-40B4-BE49-F238E27FC236}">
                  <a16:creationId xmlns:a16="http://schemas.microsoft.com/office/drawing/2014/main" id="{11BF1B32-D111-4881-9DFF-43E6C6F520A6}"/>
                </a:ext>
              </a:extLst>
            </p:cNvPr>
            <p:cNvSpPr/>
            <p:nvPr/>
          </p:nvSpPr>
          <p:spPr>
            <a:xfrm>
              <a:off x="13442765" y="7962081"/>
              <a:ext cx="208597" cy="16953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6C6C106-DE9F-424D-9B9A-C24F893C9D73}"/>
              </a:ext>
            </a:extLst>
          </p:cNvPr>
          <p:cNvGrpSpPr/>
          <p:nvPr userDrawn="1"/>
        </p:nvGrpSpPr>
        <p:grpSpPr>
          <a:xfrm>
            <a:off x="9129932" y="5902835"/>
            <a:ext cx="215146" cy="264795"/>
            <a:chOff x="14982452" y="7870446"/>
            <a:chExt cx="353060" cy="353060"/>
          </a:xfrm>
        </p:grpSpPr>
        <p:sp>
          <p:nvSpPr>
            <p:cNvPr id="20" name="object 18">
              <a:extLst>
                <a:ext uri="{FF2B5EF4-FFF2-40B4-BE49-F238E27FC236}">
                  <a16:creationId xmlns:a16="http://schemas.microsoft.com/office/drawing/2014/main" id="{48B0EE01-8313-438B-85E4-919E3227E5BE}"/>
                </a:ext>
              </a:extLst>
            </p:cNvPr>
            <p:cNvSpPr/>
            <p:nvPr/>
          </p:nvSpPr>
          <p:spPr>
            <a:xfrm>
              <a:off x="14982452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4656ECC0-6C42-4410-9C22-44D7020441F1}"/>
                </a:ext>
              </a:extLst>
            </p:cNvPr>
            <p:cNvSpPr/>
            <p:nvPr/>
          </p:nvSpPr>
          <p:spPr>
            <a:xfrm>
              <a:off x="15049749" y="7937746"/>
              <a:ext cx="218198" cy="21819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C6C8FFF-8FEA-4190-BEF9-18887051D0DD}"/>
              </a:ext>
            </a:extLst>
          </p:cNvPr>
          <p:cNvGrpSpPr/>
          <p:nvPr userDrawn="1"/>
        </p:nvGrpSpPr>
        <p:grpSpPr>
          <a:xfrm>
            <a:off x="8802538" y="5902835"/>
            <a:ext cx="215146" cy="264795"/>
            <a:chOff x="14445191" y="7870446"/>
            <a:chExt cx="353060" cy="353060"/>
          </a:xfrm>
        </p:grpSpPr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23414877-28FB-4DC1-8403-7063952D0A34}"/>
                </a:ext>
              </a:extLst>
            </p:cNvPr>
            <p:cNvSpPr/>
            <p:nvPr/>
          </p:nvSpPr>
          <p:spPr>
            <a:xfrm>
              <a:off x="14445191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152A3D67-68A0-4395-A725-E4D4B063083F}"/>
                </a:ext>
              </a:extLst>
            </p:cNvPr>
            <p:cNvSpPr/>
            <p:nvPr/>
          </p:nvSpPr>
          <p:spPr>
            <a:xfrm>
              <a:off x="14516264" y="7973118"/>
              <a:ext cx="210654" cy="14744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9B15965-B2D7-4F16-8E53-EFCD29DF2415}"/>
              </a:ext>
            </a:extLst>
          </p:cNvPr>
          <p:cNvGrpSpPr/>
          <p:nvPr userDrawn="1"/>
        </p:nvGrpSpPr>
        <p:grpSpPr>
          <a:xfrm>
            <a:off x="8475144" y="5902835"/>
            <a:ext cx="215146" cy="264795"/>
            <a:chOff x="13907928" y="7870446"/>
            <a:chExt cx="353060" cy="353060"/>
          </a:xfrm>
        </p:grpSpPr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55F9FD29-BE99-4B55-9E02-369EDD098BF6}"/>
                </a:ext>
              </a:extLst>
            </p:cNvPr>
            <p:cNvSpPr/>
            <p:nvPr/>
          </p:nvSpPr>
          <p:spPr>
            <a:xfrm>
              <a:off x="13907928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BD7E5DCE-E3CE-4A81-935E-3853938624C6}"/>
                </a:ext>
              </a:extLst>
            </p:cNvPr>
            <p:cNvSpPr/>
            <p:nvPr/>
          </p:nvSpPr>
          <p:spPr>
            <a:xfrm>
              <a:off x="13990901" y="7954696"/>
              <a:ext cx="186842" cy="18430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30" name="object 8">
            <a:extLst>
              <a:ext uri="{FF2B5EF4-FFF2-40B4-BE49-F238E27FC236}">
                <a16:creationId xmlns:a16="http://schemas.microsoft.com/office/drawing/2014/main" id="{30407C8C-1F92-4D15-91A5-2F39144E61A5}"/>
              </a:ext>
            </a:extLst>
          </p:cNvPr>
          <p:cNvSpPr txBox="1"/>
          <p:nvPr userDrawn="1"/>
        </p:nvSpPr>
        <p:spPr>
          <a:xfrm>
            <a:off x="7820355" y="5487350"/>
            <a:ext cx="1536557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world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grpSp>
        <p:nvGrpSpPr>
          <p:cNvPr id="38" name="Graphique 30">
            <a:extLst>
              <a:ext uri="{FF2B5EF4-FFF2-40B4-BE49-F238E27FC236}">
                <a16:creationId xmlns:a16="http://schemas.microsoft.com/office/drawing/2014/main" id="{EFD8DA84-E25B-4397-9A13-BE58B213B7E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213" y="5553303"/>
            <a:ext cx="2228850" cy="650468"/>
            <a:chOff x="6756400" y="5334000"/>
            <a:chExt cx="1824936" cy="432729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D7AB141-7BCF-40C0-B8C8-1BE3AA1B10F4}"/>
                </a:ext>
              </a:extLst>
            </p:cNvPr>
            <p:cNvSpPr/>
            <p:nvPr/>
          </p:nvSpPr>
          <p:spPr>
            <a:xfrm>
              <a:off x="7041667" y="567528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/>
            </a:p>
          </p:txBody>
        </p:sp>
        <p:grpSp>
          <p:nvGrpSpPr>
            <p:cNvPr id="40" name="Graphique 30">
              <a:extLst>
                <a:ext uri="{FF2B5EF4-FFF2-40B4-BE49-F238E27FC236}">
                  <a16:creationId xmlns:a16="http://schemas.microsoft.com/office/drawing/2014/main" id="{C1A2F515-8375-4C33-99AF-323CF12CD29D}"/>
                </a:ext>
              </a:extLst>
            </p:cNvPr>
            <p:cNvGrpSpPr/>
            <p:nvPr/>
          </p:nvGrpSpPr>
          <p:grpSpPr>
            <a:xfrm>
              <a:off x="6756400" y="5334000"/>
              <a:ext cx="1824936" cy="273031"/>
              <a:chOff x="6756400" y="5334000"/>
              <a:chExt cx="1824936" cy="273031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61F09EFB-CB0B-4FBD-B3D9-8948AB4B0676}"/>
                  </a:ext>
                </a:extLst>
              </p:cNvPr>
              <p:cNvSpPr/>
              <p:nvPr/>
            </p:nvSpPr>
            <p:spPr>
              <a:xfrm>
                <a:off x="6756400" y="533400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87CE0B4-A958-4D06-9420-19E32A7A994A}"/>
                  </a:ext>
                </a:extLst>
              </p:cNvPr>
              <p:cNvSpPr/>
              <p:nvPr/>
            </p:nvSpPr>
            <p:spPr>
              <a:xfrm>
                <a:off x="8363039" y="538422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</p:grpSp>
      </p:grp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1F2F5812-A87B-4FF0-8AF0-430D0522C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18680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 err="1"/>
              <a:t>email@inetum.world</a:t>
            </a:r>
            <a:endParaRPr lang="en-US" dirty="0"/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565143D5-803B-4BBC-9EEC-05BD666ADE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31606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15EB7A04-D68C-41D0-B905-5073B5F80E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93074" y="33289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 err="1"/>
              <a:t>email@inetum.world</a:t>
            </a:r>
            <a:endParaRPr lang="en-US" dirty="0"/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E0B973B9-F199-4B5E-803F-4410743BD7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31606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A2767ABD-17B9-4375-BB06-FA22C3DCE9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3074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 err="1"/>
              <a:t>email@inetum.world</a:t>
            </a:r>
            <a:endParaRPr lang="en-US" dirty="0"/>
          </a:p>
          <a:p>
            <a:pPr lvl="2"/>
            <a:r>
              <a:rPr lang="en-US" dirty="0"/>
              <a:t>Social network</a:t>
            </a:r>
          </a:p>
        </p:txBody>
      </p:sp>
    </p:spTree>
    <p:extLst>
      <p:ext uri="{BB962C8B-B14F-4D97-AF65-F5344CB8AC3E}">
        <p14:creationId xmlns:p14="http://schemas.microsoft.com/office/powerpoint/2010/main" val="141158315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3" y="3713307"/>
            <a:ext cx="2228850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2" name="object 6">
            <a:extLst>
              <a:ext uri="{FF2B5EF4-FFF2-40B4-BE49-F238E27FC236}">
                <a16:creationId xmlns:a16="http://schemas.microsoft.com/office/drawing/2014/main" id="{3F569564-E659-414C-A3DD-5CDA9CE69D1E}"/>
              </a:ext>
            </a:extLst>
          </p:cNvPr>
          <p:cNvSpPr/>
          <p:nvPr userDrawn="1"/>
        </p:nvSpPr>
        <p:spPr>
          <a:xfrm>
            <a:off x="7677150" y="27431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5" name="object 13">
            <a:extLst>
              <a:ext uri="{FF2B5EF4-FFF2-40B4-BE49-F238E27FC236}">
                <a16:creationId xmlns:a16="http://schemas.microsoft.com/office/drawing/2014/main" id="{2F0B4D82-3112-41F2-AD2B-0EF2CD0013D4}"/>
              </a:ext>
            </a:extLst>
          </p:cNvPr>
          <p:cNvSpPr txBox="1"/>
          <p:nvPr userDrawn="1"/>
        </p:nvSpPr>
        <p:spPr>
          <a:xfrm>
            <a:off x="3768923" y="3895726"/>
            <a:ext cx="1369814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world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8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</p:spTree>
    <p:extLst>
      <p:ext uri="{BB962C8B-B14F-4D97-AF65-F5344CB8AC3E}">
        <p14:creationId xmlns:p14="http://schemas.microsoft.com/office/powerpoint/2010/main" val="409469517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7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2" name="object 6">
            <a:extLst>
              <a:ext uri="{FF2B5EF4-FFF2-40B4-BE49-F238E27FC236}">
                <a16:creationId xmlns:a16="http://schemas.microsoft.com/office/drawing/2014/main" id="{3F569564-E659-414C-A3DD-5CDA9CE69D1E}"/>
              </a:ext>
            </a:extLst>
          </p:cNvPr>
          <p:cNvSpPr/>
          <p:nvPr userDrawn="1"/>
        </p:nvSpPr>
        <p:spPr>
          <a:xfrm>
            <a:off x="7677150" y="27431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5" name="object 13">
            <a:extLst>
              <a:ext uri="{FF2B5EF4-FFF2-40B4-BE49-F238E27FC236}">
                <a16:creationId xmlns:a16="http://schemas.microsoft.com/office/drawing/2014/main" id="{2F0B4D82-3112-41F2-AD2B-0EF2CD0013D4}"/>
              </a:ext>
            </a:extLst>
          </p:cNvPr>
          <p:cNvSpPr txBox="1"/>
          <p:nvPr userDrawn="1"/>
        </p:nvSpPr>
        <p:spPr>
          <a:xfrm>
            <a:off x="3768923" y="3895726"/>
            <a:ext cx="1369814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world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8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</p:spTree>
    <p:extLst>
      <p:ext uri="{BB962C8B-B14F-4D97-AF65-F5344CB8AC3E}">
        <p14:creationId xmlns:p14="http://schemas.microsoft.com/office/powerpoint/2010/main" val="373488050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738575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"/>
            <a:ext cx="9906000" cy="685799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solidFill>
            <a:schemeClr val="accent1"/>
          </a:solidFill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42"/>
            <a:ext cx="784624" cy="53222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5377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ercalai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Résultat de recherche d'images pour &quot;business meeting wallpaper&quot;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"/>
          <a:stretch/>
        </p:blipFill>
        <p:spPr bwMode="auto">
          <a:xfrm>
            <a:off x="0" y="-1"/>
            <a:ext cx="9906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38"/>
            <a:ext cx="784624" cy="532226"/>
          </a:xfrm>
          <a:prstGeom prst="rect">
            <a:avLst/>
          </a:prstGeom>
        </p:spPr>
      </p:pic>
      <p:sp>
        <p:nvSpPr>
          <p:cNvPr id="6" name="Espace réservé de la date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633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s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2423" y="1741839"/>
            <a:ext cx="4210050" cy="473678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6636" y="1741839"/>
            <a:ext cx="4210050" cy="4508236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619432" y="1157826"/>
            <a:ext cx="4215118" cy="532318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26636" y="1157826"/>
            <a:ext cx="4216952" cy="532318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2313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Cover ">
    <p:bg>
      <p:bgPr>
        <a:solidFill>
          <a:srgbClr val="222C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 userDrawn="1"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582E72F-5299-445D-AA7E-96F5B70AF5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57200658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4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rgbClr val="005473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/>
              <a:t>00</a:t>
            </a:r>
            <a:endParaRPr lang="en-US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ing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DB9ADED-DF4F-4FC6-A076-1C2DFF1798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70704033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5699" y="382623"/>
            <a:ext cx="7561065" cy="35219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194" b="1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5699" y="1371600"/>
            <a:ext cx="8694148" cy="1422106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Text level 1</a:t>
            </a:r>
          </a:p>
          <a:p>
            <a:pPr lvl="1"/>
            <a:r>
              <a:rPr lang="en-US"/>
              <a:t>Text level 2</a:t>
            </a:r>
          </a:p>
          <a:p>
            <a:pPr lvl="2"/>
            <a:r>
              <a:rPr lang="en-US"/>
              <a:t>Text level 3</a:t>
            </a:r>
          </a:p>
          <a:p>
            <a:pPr lvl="3"/>
            <a:r>
              <a:rPr lang="en-US"/>
              <a:t>Text level 4</a:t>
            </a:r>
          </a:p>
          <a:p>
            <a:pPr lvl="4"/>
            <a:r>
              <a:rPr lang="en-US"/>
              <a:t>Text level 5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E7B67AD-CC0A-4B52-BABC-C439F887D4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23640748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5699" y="1379943"/>
            <a:ext cx="8694148" cy="1372477"/>
          </a:xfrm>
        </p:spPr>
        <p:txBody>
          <a:bodyPr wrap="square">
            <a:spAutoFit/>
          </a:bodyPr>
          <a:lstStyle>
            <a:lvl1pPr marL="110286" indent="-120661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7" indent="-120661">
              <a:buFont typeface="Wingdings" panose="05000000000000000000" pitchFamily="2" charset="2"/>
              <a:buChar char="§"/>
              <a:defRPr/>
            </a:lvl2pPr>
            <a:lvl3pPr marL="241322" indent="-119960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38" indent="-109692">
              <a:defRPr sz="914">
                <a:solidFill>
                  <a:schemeClr val="tx2"/>
                </a:solidFill>
              </a:defRPr>
            </a:lvl4pPr>
            <a:lvl5pPr marL="372953" indent="-120661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level 1</a:t>
            </a:r>
          </a:p>
          <a:p>
            <a:pPr lvl="1"/>
            <a:r>
              <a:rPr lang="en-US"/>
              <a:t>Text level 2</a:t>
            </a:r>
          </a:p>
          <a:p>
            <a:pPr lvl="2"/>
            <a:r>
              <a:rPr lang="en-US"/>
              <a:t>Text level 3</a:t>
            </a:r>
          </a:p>
          <a:p>
            <a:pPr lvl="3"/>
            <a:r>
              <a:rPr lang="en-US"/>
              <a:t>Text level 4</a:t>
            </a:r>
          </a:p>
          <a:p>
            <a:pPr lvl="4"/>
            <a:r>
              <a:rPr lang="en-US"/>
              <a:t>Text level 5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1F0E40C-C0B6-4FE3-BCC5-C2B48E5D6C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D79436BD-1BEC-4D7D-B562-AB3BD62879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5699" y="382623"/>
            <a:ext cx="7561065" cy="35219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194" b="1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05575963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7841DCF2-2B94-45F3-94F5-118FE191F00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7213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/>
              <a:t>Insert </a:t>
            </a:r>
            <a:r>
              <a:rPr lang="fr-FR" err="1"/>
              <a:t>picture</a:t>
            </a:r>
            <a:endParaRPr lang="en-US"/>
          </a:p>
        </p:txBody>
      </p:sp>
      <p:sp>
        <p:nvSpPr>
          <p:cNvPr id="57" name="Text Placeholder 18">
            <a:extLst>
              <a:ext uri="{FF2B5EF4-FFF2-40B4-BE49-F238E27FC236}">
                <a16:creationId xmlns:a16="http://schemas.microsoft.com/office/drawing/2014/main" id="{9675BD83-58FE-4C71-B90D-479A1D8BFE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18680" y="33289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 err="1"/>
              <a:t>email@inetum.world</a:t>
            </a:r>
            <a:endParaRPr lang="en-US"/>
          </a:p>
          <a:p>
            <a:pPr lvl="2"/>
            <a:r>
              <a:rPr lang="en-US"/>
              <a:t>Social network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570C0C40-76FE-48E0-A40C-7FA39A61163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3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/>
              <a:t>Insert </a:t>
            </a:r>
            <a:r>
              <a:rPr lang="fr-FR" err="1"/>
              <a:t>picture</a:t>
            </a:r>
            <a:endParaRPr lang="en-US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lide title</a:t>
            </a: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380F4B4-DFB8-45BA-BF39-FD12DC17938D}"/>
              </a:ext>
            </a:extLst>
          </p:cNvPr>
          <p:cNvSpPr/>
          <p:nvPr userDrawn="1"/>
        </p:nvSpPr>
        <p:spPr>
          <a:xfrm>
            <a:off x="0" y="5143500"/>
            <a:ext cx="9906000" cy="1714500"/>
          </a:xfrm>
          <a:custGeom>
            <a:avLst/>
            <a:gdLst>
              <a:gd name="connsiteX0" fmla="*/ 0 w 16256000"/>
              <a:gd name="connsiteY0" fmla="*/ 0 h 2286000"/>
              <a:gd name="connsiteX1" fmla="*/ 16256000 w 16256000"/>
              <a:gd name="connsiteY1" fmla="*/ 0 h 2286000"/>
              <a:gd name="connsiteX2" fmla="*/ 16256000 w 16256000"/>
              <a:gd name="connsiteY2" fmla="*/ 1371600 h 2286000"/>
              <a:gd name="connsiteX3" fmla="*/ 15341600 w 16256000"/>
              <a:gd name="connsiteY3" fmla="*/ 1371600 h 2286000"/>
              <a:gd name="connsiteX4" fmla="*/ 15341600 w 16256000"/>
              <a:gd name="connsiteY4" fmla="*/ 2286000 h 2286000"/>
              <a:gd name="connsiteX5" fmla="*/ 0 w 16256000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56000" h="2286000">
                <a:moveTo>
                  <a:pt x="0" y="0"/>
                </a:moveTo>
                <a:lnTo>
                  <a:pt x="16256000" y="0"/>
                </a:lnTo>
                <a:lnTo>
                  <a:pt x="16256000" y="1371600"/>
                </a:lnTo>
                <a:lnTo>
                  <a:pt x="15341600" y="1371600"/>
                </a:lnTo>
                <a:lnTo>
                  <a:pt x="15341600" y="2286000"/>
                </a:lnTo>
                <a:lnTo>
                  <a:pt x="0" y="2286000"/>
                </a:lnTo>
                <a:close/>
              </a:path>
            </a:pathLst>
          </a:custGeom>
          <a:solidFill>
            <a:srgbClr val="222C4A"/>
          </a:solidFill>
        </p:spPr>
        <p:txBody>
          <a:bodyPr wrap="square" lIns="0" tIns="0" rIns="0" bIns="0" rtlCol="0">
            <a:noAutofit/>
          </a:bodyPr>
          <a:lstStyle/>
          <a:p>
            <a:endParaRPr sz="731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FA622AA-407E-4F46-953C-4F5CFFF27758}"/>
              </a:ext>
            </a:extLst>
          </p:cNvPr>
          <p:cNvGrpSpPr/>
          <p:nvPr userDrawn="1"/>
        </p:nvGrpSpPr>
        <p:grpSpPr>
          <a:xfrm>
            <a:off x="7820355" y="5902835"/>
            <a:ext cx="215146" cy="264795"/>
            <a:chOff x="12833403" y="7870446"/>
            <a:chExt cx="353060" cy="353060"/>
          </a:xfrm>
        </p:grpSpPr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FE6F9D51-5130-443F-B1D6-66A7423C656F}"/>
                </a:ext>
              </a:extLst>
            </p:cNvPr>
            <p:cNvSpPr/>
            <p:nvPr/>
          </p:nvSpPr>
          <p:spPr>
            <a:xfrm>
              <a:off x="12833403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9D8A372B-5C39-4A64-9C1B-63367CD65657}"/>
                </a:ext>
              </a:extLst>
            </p:cNvPr>
            <p:cNvSpPr/>
            <p:nvPr/>
          </p:nvSpPr>
          <p:spPr>
            <a:xfrm>
              <a:off x="12956971" y="7938711"/>
              <a:ext cx="105664" cy="21626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B1B7B49-0DA0-45B6-8E19-E1D65283D0ED}"/>
              </a:ext>
            </a:extLst>
          </p:cNvPr>
          <p:cNvGrpSpPr/>
          <p:nvPr userDrawn="1"/>
        </p:nvGrpSpPr>
        <p:grpSpPr>
          <a:xfrm>
            <a:off x="8147748" y="5902835"/>
            <a:ext cx="215146" cy="264795"/>
            <a:chOff x="13370664" y="7870446"/>
            <a:chExt cx="353060" cy="353060"/>
          </a:xfrm>
        </p:grpSpPr>
        <p:sp>
          <p:nvSpPr>
            <p:cNvPr id="18" name="object 16">
              <a:extLst>
                <a:ext uri="{FF2B5EF4-FFF2-40B4-BE49-F238E27FC236}">
                  <a16:creationId xmlns:a16="http://schemas.microsoft.com/office/drawing/2014/main" id="{656B5F96-588D-4950-953A-24C2FAA305BA}"/>
                </a:ext>
              </a:extLst>
            </p:cNvPr>
            <p:cNvSpPr/>
            <p:nvPr/>
          </p:nvSpPr>
          <p:spPr>
            <a:xfrm>
              <a:off x="13370664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9" name="object 17">
              <a:extLst>
                <a:ext uri="{FF2B5EF4-FFF2-40B4-BE49-F238E27FC236}">
                  <a16:creationId xmlns:a16="http://schemas.microsoft.com/office/drawing/2014/main" id="{11BF1B32-D111-4881-9DFF-43E6C6F520A6}"/>
                </a:ext>
              </a:extLst>
            </p:cNvPr>
            <p:cNvSpPr/>
            <p:nvPr/>
          </p:nvSpPr>
          <p:spPr>
            <a:xfrm>
              <a:off x="13442765" y="7962081"/>
              <a:ext cx="208597" cy="16953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6C6C106-DE9F-424D-9B9A-C24F893C9D73}"/>
              </a:ext>
            </a:extLst>
          </p:cNvPr>
          <p:cNvGrpSpPr/>
          <p:nvPr userDrawn="1"/>
        </p:nvGrpSpPr>
        <p:grpSpPr>
          <a:xfrm>
            <a:off x="9129932" y="5902835"/>
            <a:ext cx="215146" cy="264795"/>
            <a:chOff x="14982452" y="7870446"/>
            <a:chExt cx="353060" cy="353060"/>
          </a:xfrm>
        </p:grpSpPr>
        <p:sp>
          <p:nvSpPr>
            <p:cNvPr id="20" name="object 18">
              <a:extLst>
                <a:ext uri="{FF2B5EF4-FFF2-40B4-BE49-F238E27FC236}">
                  <a16:creationId xmlns:a16="http://schemas.microsoft.com/office/drawing/2014/main" id="{48B0EE01-8313-438B-85E4-919E3227E5BE}"/>
                </a:ext>
              </a:extLst>
            </p:cNvPr>
            <p:cNvSpPr/>
            <p:nvPr/>
          </p:nvSpPr>
          <p:spPr>
            <a:xfrm>
              <a:off x="14982452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4656ECC0-6C42-4410-9C22-44D7020441F1}"/>
                </a:ext>
              </a:extLst>
            </p:cNvPr>
            <p:cNvSpPr/>
            <p:nvPr/>
          </p:nvSpPr>
          <p:spPr>
            <a:xfrm>
              <a:off x="15049749" y="7937746"/>
              <a:ext cx="218198" cy="21819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C6C8FFF-8FEA-4190-BEF9-18887051D0DD}"/>
              </a:ext>
            </a:extLst>
          </p:cNvPr>
          <p:cNvGrpSpPr/>
          <p:nvPr userDrawn="1"/>
        </p:nvGrpSpPr>
        <p:grpSpPr>
          <a:xfrm>
            <a:off x="8802538" y="5902835"/>
            <a:ext cx="215146" cy="264795"/>
            <a:chOff x="14445191" y="7870446"/>
            <a:chExt cx="353060" cy="353060"/>
          </a:xfrm>
        </p:grpSpPr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23414877-28FB-4DC1-8403-7063952D0A34}"/>
                </a:ext>
              </a:extLst>
            </p:cNvPr>
            <p:cNvSpPr/>
            <p:nvPr/>
          </p:nvSpPr>
          <p:spPr>
            <a:xfrm>
              <a:off x="14445191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152A3D67-68A0-4395-A725-E4D4B063083F}"/>
                </a:ext>
              </a:extLst>
            </p:cNvPr>
            <p:cNvSpPr/>
            <p:nvPr/>
          </p:nvSpPr>
          <p:spPr>
            <a:xfrm>
              <a:off x="14516264" y="7973118"/>
              <a:ext cx="210654" cy="14744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9B15965-B2D7-4F16-8E53-EFCD29DF2415}"/>
              </a:ext>
            </a:extLst>
          </p:cNvPr>
          <p:cNvGrpSpPr/>
          <p:nvPr userDrawn="1"/>
        </p:nvGrpSpPr>
        <p:grpSpPr>
          <a:xfrm>
            <a:off x="8475144" y="5902835"/>
            <a:ext cx="215146" cy="264795"/>
            <a:chOff x="13907928" y="7870446"/>
            <a:chExt cx="353060" cy="353060"/>
          </a:xfrm>
        </p:grpSpPr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55F9FD29-BE99-4B55-9E02-369EDD098BF6}"/>
                </a:ext>
              </a:extLst>
            </p:cNvPr>
            <p:cNvSpPr/>
            <p:nvPr/>
          </p:nvSpPr>
          <p:spPr>
            <a:xfrm>
              <a:off x="13907928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BD7E5DCE-E3CE-4A81-935E-3853938624C6}"/>
                </a:ext>
              </a:extLst>
            </p:cNvPr>
            <p:cNvSpPr/>
            <p:nvPr/>
          </p:nvSpPr>
          <p:spPr>
            <a:xfrm>
              <a:off x="13990901" y="7954696"/>
              <a:ext cx="186842" cy="18430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30" name="object 8">
            <a:extLst>
              <a:ext uri="{FF2B5EF4-FFF2-40B4-BE49-F238E27FC236}">
                <a16:creationId xmlns:a16="http://schemas.microsoft.com/office/drawing/2014/main" id="{30407C8C-1F92-4D15-91A5-2F39144E61A5}"/>
              </a:ext>
            </a:extLst>
          </p:cNvPr>
          <p:cNvSpPr txBox="1"/>
          <p:nvPr userDrawn="1"/>
        </p:nvSpPr>
        <p:spPr>
          <a:xfrm>
            <a:off x="7820355" y="5487350"/>
            <a:ext cx="1536557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world</a:t>
            </a:r>
            <a:endParaRPr sz="1341">
              <a:latin typeface="Verdana" panose="020B0604030504040204" pitchFamily="34" charset="0"/>
              <a:cs typeface="Poppins ExtraBold"/>
            </a:endParaRPr>
          </a:p>
        </p:txBody>
      </p:sp>
      <p:grpSp>
        <p:nvGrpSpPr>
          <p:cNvPr id="38" name="Graphique 30">
            <a:extLst>
              <a:ext uri="{FF2B5EF4-FFF2-40B4-BE49-F238E27FC236}">
                <a16:creationId xmlns:a16="http://schemas.microsoft.com/office/drawing/2014/main" id="{EFD8DA84-E25B-4397-9A13-BE58B213B7E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213" y="5553303"/>
            <a:ext cx="2228850" cy="650468"/>
            <a:chOff x="6756400" y="5334000"/>
            <a:chExt cx="1824936" cy="432729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D7AB141-7BCF-40C0-B8C8-1BE3AA1B10F4}"/>
                </a:ext>
              </a:extLst>
            </p:cNvPr>
            <p:cNvSpPr/>
            <p:nvPr/>
          </p:nvSpPr>
          <p:spPr>
            <a:xfrm>
              <a:off x="7041667" y="567528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/>
            </a:p>
          </p:txBody>
        </p:sp>
        <p:grpSp>
          <p:nvGrpSpPr>
            <p:cNvPr id="40" name="Graphique 30">
              <a:extLst>
                <a:ext uri="{FF2B5EF4-FFF2-40B4-BE49-F238E27FC236}">
                  <a16:creationId xmlns:a16="http://schemas.microsoft.com/office/drawing/2014/main" id="{C1A2F515-8375-4C33-99AF-323CF12CD29D}"/>
                </a:ext>
              </a:extLst>
            </p:cNvPr>
            <p:cNvGrpSpPr/>
            <p:nvPr/>
          </p:nvGrpSpPr>
          <p:grpSpPr>
            <a:xfrm>
              <a:off x="6756400" y="5334000"/>
              <a:ext cx="1824936" cy="273031"/>
              <a:chOff x="6756400" y="5334000"/>
              <a:chExt cx="1824936" cy="273031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61F09EFB-CB0B-4FBD-B3D9-8948AB4B0676}"/>
                  </a:ext>
                </a:extLst>
              </p:cNvPr>
              <p:cNvSpPr/>
              <p:nvPr/>
            </p:nvSpPr>
            <p:spPr>
              <a:xfrm>
                <a:off x="6756400" y="533400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87CE0B4-A958-4D06-9420-19E32A7A994A}"/>
                  </a:ext>
                </a:extLst>
              </p:cNvPr>
              <p:cNvSpPr/>
              <p:nvPr/>
            </p:nvSpPr>
            <p:spPr>
              <a:xfrm>
                <a:off x="8363039" y="538422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</p:grpSp>
      </p:grp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1F2F5812-A87B-4FF0-8AF0-430D0522C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18680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 err="1"/>
              <a:t>email@inetum.world</a:t>
            </a:r>
            <a:endParaRPr lang="en-US"/>
          </a:p>
          <a:p>
            <a:pPr lvl="2"/>
            <a:r>
              <a:rPr lang="en-US"/>
              <a:t>Social network</a:t>
            </a:r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565143D5-803B-4BBC-9EEC-05BD666ADE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31606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/>
              <a:t>Insert </a:t>
            </a:r>
            <a:r>
              <a:rPr lang="fr-FR" err="1"/>
              <a:t>picture</a:t>
            </a:r>
            <a:endParaRPr lang="en-US"/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15EB7A04-D68C-41D0-B905-5073B5F80E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93074" y="33289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 err="1"/>
              <a:t>email@inetum.world</a:t>
            </a:r>
            <a:endParaRPr lang="en-US"/>
          </a:p>
          <a:p>
            <a:pPr lvl="2"/>
            <a:r>
              <a:rPr lang="en-US"/>
              <a:t>Social network</a:t>
            </a:r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E0B973B9-F199-4B5E-803F-4410743BD7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31606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/>
              <a:t>Insert </a:t>
            </a:r>
            <a:r>
              <a:rPr lang="fr-FR" err="1"/>
              <a:t>picture</a:t>
            </a:r>
            <a:endParaRPr lang="en-US"/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A2767ABD-17B9-4375-BB06-FA22C3DCE9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3074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 err="1"/>
              <a:t>email@inetum.world</a:t>
            </a:r>
            <a:endParaRPr lang="en-US"/>
          </a:p>
          <a:p>
            <a:pPr lvl="2"/>
            <a:r>
              <a:rPr lang="en-US"/>
              <a:t>Social network</a:t>
            </a:r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766E12D7-53BE-4246-8517-2DA21308F6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26906" y="6410308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401610765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7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2" name="object 6">
            <a:extLst>
              <a:ext uri="{FF2B5EF4-FFF2-40B4-BE49-F238E27FC236}">
                <a16:creationId xmlns:a16="http://schemas.microsoft.com/office/drawing/2014/main" id="{3F569564-E659-414C-A3DD-5CDA9CE69D1E}"/>
              </a:ext>
            </a:extLst>
          </p:cNvPr>
          <p:cNvSpPr/>
          <p:nvPr userDrawn="1"/>
        </p:nvSpPr>
        <p:spPr>
          <a:xfrm>
            <a:off x="7677150" y="27431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5" name="object 13">
            <a:extLst>
              <a:ext uri="{FF2B5EF4-FFF2-40B4-BE49-F238E27FC236}">
                <a16:creationId xmlns:a16="http://schemas.microsoft.com/office/drawing/2014/main" id="{2F0B4D82-3112-41F2-AD2B-0EF2CD0013D4}"/>
              </a:ext>
            </a:extLst>
          </p:cNvPr>
          <p:cNvSpPr txBox="1"/>
          <p:nvPr userDrawn="1"/>
        </p:nvSpPr>
        <p:spPr>
          <a:xfrm>
            <a:off x="3768923" y="3895726"/>
            <a:ext cx="1369814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>
              <a:lnSpc>
                <a:spcPct val="100000"/>
              </a:lnSpc>
              <a:spcBef>
                <a:spcPts val="61"/>
              </a:spcBef>
            </a:pPr>
            <a:r>
              <a:rPr sz="1341" b="1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world</a:t>
            </a:r>
            <a:endParaRPr sz="1341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8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</p:spTree>
    <p:extLst>
      <p:ext uri="{BB962C8B-B14F-4D97-AF65-F5344CB8AC3E}">
        <p14:creationId xmlns:p14="http://schemas.microsoft.com/office/powerpoint/2010/main" val="373488050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5468422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5468422" cy="13724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10286" indent="-120661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7" indent="-120661">
              <a:buFont typeface="Wingdings" panose="05000000000000000000" pitchFamily="2" charset="2"/>
              <a:buChar char="§"/>
              <a:defRPr/>
            </a:lvl2pPr>
            <a:lvl3pPr marL="241322" indent="-119960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38" indent="-109692">
              <a:defRPr sz="914">
                <a:solidFill>
                  <a:schemeClr val="tx2"/>
                </a:solidFill>
              </a:defRPr>
            </a:lvl4pPr>
            <a:lvl5pPr marL="372953" indent="-120661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level 1</a:t>
            </a:r>
          </a:p>
          <a:p>
            <a:pPr lvl="1"/>
            <a:r>
              <a:rPr lang="en-US"/>
              <a:t>Text level 2</a:t>
            </a:r>
          </a:p>
          <a:p>
            <a:pPr lvl="2"/>
            <a:r>
              <a:rPr lang="en-US"/>
              <a:t>Text level 3</a:t>
            </a:r>
          </a:p>
          <a:p>
            <a:pPr lvl="3"/>
            <a:r>
              <a:rPr lang="en-US"/>
              <a:t>Text level 4</a:t>
            </a:r>
          </a:p>
          <a:p>
            <a:pPr lvl="4"/>
            <a:r>
              <a:rPr lang="en-US"/>
              <a:t>Text level 5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750A8D-D645-4EBC-8C78-B725FE49F392}"/>
              </a:ext>
            </a:extLst>
          </p:cNvPr>
          <p:cNvSpPr/>
          <p:nvPr userDrawn="1"/>
        </p:nvSpPr>
        <p:spPr>
          <a:xfrm>
            <a:off x="6471920" y="0"/>
            <a:ext cx="343408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31"/>
          </a:p>
        </p:txBody>
      </p:sp>
      <p:pic>
        <p:nvPicPr>
          <p:cNvPr id="12" name="Graphique 30">
            <a:extLst>
              <a:ext uri="{FF2B5EF4-FFF2-40B4-BE49-F238E27FC236}">
                <a16:creationId xmlns:a16="http://schemas.microsoft.com/office/drawing/2014/main" id="{AB20CABB-66EA-4633-A391-7708C263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" name="bg object 20">
            <a:extLst>
              <a:ext uri="{FF2B5EF4-FFF2-40B4-BE49-F238E27FC236}">
                <a16:creationId xmlns:a16="http://schemas.microsoft.com/office/drawing/2014/main" id="{922896F2-0923-44AF-A3DA-76ED2701C2C3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5EBFDBC-1DAA-4DBB-831E-149F6CFA38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  <p:sp>
        <p:nvSpPr>
          <p:cNvPr id="16" name="TextBox 16">
            <a:extLst>
              <a:ext uri="{FF2B5EF4-FFF2-40B4-BE49-F238E27FC236}">
                <a16:creationId xmlns:a16="http://schemas.microsoft.com/office/drawing/2014/main" id="{59037F40-E5DF-4B7D-9923-77887F4ACB9B}"/>
              </a:ext>
            </a:extLst>
          </p:cNvPr>
          <p:cNvSpPr txBox="1"/>
          <p:nvPr userDrawn="1"/>
        </p:nvSpPr>
        <p:spPr>
          <a:xfrm>
            <a:off x="9417665" y="6418897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35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35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7934614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5468422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5468422" cy="13724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10286" indent="-120661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7" indent="-120661">
              <a:buFont typeface="Wingdings" panose="05000000000000000000" pitchFamily="2" charset="2"/>
              <a:buChar char="§"/>
              <a:defRPr/>
            </a:lvl2pPr>
            <a:lvl3pPr marL="241322" indent="-119960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38" indent="-109692">
              <a:defRPr sz="914">
                <a:solidFill>
                  <a:schemeClr val="tx2"/>
                </a:solidFill>
              </a:defRPr>
            </a:lvl4pPr>
            <a:lvl5pPr marL="372953" indent="-120661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level 1</a:t>
            </a:r>
          </a:p>
          <a:p>
            <a:pPr lvl="1"/>
            <a:r>
              <a:rPr lang="en-US"/>
              <a:t>Text level 2</a:t>
            </a:r>
          </a:p>
          <a:p>
            <a:pPr lvl="2"/>
            <a:r>
              <a:rPr lang="en-US"/>
              <a:t>Text level 3</a:t>
            </a:r>
          </a:p>
          <a:p>
            <a:pPr lvl="3"/>
            <a:r>
              <a:rPr lang="en-US"/>
              <a:t>Text level 4</a:t>
            </a:r>
          </a:p>
          <a:p>
            <a:pPr lvl="4"/>
            <a:r>
              <a:rPr lang="en-US"/>
              <a:t>Text level 5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750A8D-D645-4EBC-8C78-B725FE49F392}"/>
              </a:ext>
            </a:extLst>
          </p:cNvPr>
          <p:cNvSpPr/>
          <p:nvPr userDrawn="1"/>
        </p:nvSpPr>
        <p:spPr>
          <a:xfrm>
            <a:off x="7506891" y="0"/>
            <a:ext cx="239910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731"/>
          </a:p>
        </p:txBody>
      </p:sp>
      <p:pic>
        <p:nvPicPr>
          <p:cNvPr id="12" name="Graphique 30">
            <a:extLst>
              <a:ext uri="{FF2B5EF4-FFF2-40B4-BE49-F238E27FC236}">
                <a16:creationId xmlns:a16="http://schemas.microsoft.com/office/drawing/2014/main" id="{AB20CABB-66EA-4633-A391-7708C263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" name="bg object 20">
            <a:extLst>
              <a:ext uri="{FF2B5EF4-FFF2-40B4-BE49-F238E27FC236}">
                <a16:creationId xmlns:a16="http://schemas.microsoft.com/office/drawing/2014/main" id="{922896F2-0923-44AF-A3DA-76ED2701C2C3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3" name="TextBox 16">
            <a:extLst>
              <a:ext uri="{FF2B5EF4-FFF2-40B4-BE49-F238E27FC236}">
                <a16:creationId xmlns:a16="http://schemas.microsoft.com/office/drawing/2014/main" id="{5F93FA0E-B448-4F73-9628-624EC50C0698}"/>
              </a:ext>
            </a:extLst>
          </p:cNvPr>
          <p:cNvSpPr txBox="1"/>
          <p:nvPr userDrawn="1"/>
        </p:nvSpPr>
        <p:spPr>
          <a:xfrm>
            <a:off x="9417665" y="6418897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35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35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20C2BC6-A025-45B8-9440-D8DAE250EE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233436571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3" name="Text Placeholder 31">
            <a:extLst>
              <a:ext uri="{FF2B5EF4-FFF2-40B4-BE49-F238E27FC236}">
                <a16:creationId xmlns:a16="http://schemas.microsoft.com/office/drawing/2014/main" id="{3511C7BF-3840-4CE8-BB5B-C7B08391350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237088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/>
              <a:t>00</a:t>
            </a:r>
            <a:endParaRPr lang="en-US"/>
          </a:p>
        </p:txBody>
      </p:sp>
      <p:sp>
        <p:nvSpPr>
          <p:cNvPr id="114" name="Text Placeholder 18">
            <a:extLst>
              <a:ext uri="{FF2B5EF4-FFF2-40B4-BE49-F238E27FC236}">
                <a16:creationId xmlns:a16="http://schemas.microsoft.com/office/drawing/2014/main" id="{EFD58F2A-B07B-4D2B-8951-E00DDA67D76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802041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5" name="Text Placeholder 18">
            <a:extLst>
              <a:ext uri="{FF2B5EF4-FFF2-40B4-BE49-F238E27FC236}">
                <a16:creationId xmlns:a16="http://schemas.microsoft.com/office/drawing/2014/main" id="{A3AA694F-FB48-41A8-B07B-EC1F3B40C39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802040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30" name="Text Placeholder 18">
            <a:extLst>
              <a:ext uri="{FF2B5EF4-FFF2-40B4-BE49-F238E27FC236}">
                <a16:creationId xmlns:a16="http://schemas.microsoft.com/office/drawing/2014/main" id="{8465A35D-EC66-40E8-80CC-6934147C890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837254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33" name="Text Placeholder 31">
            <a:extLst>
              <a:ext uri="{FF2B5EF4-FFF2-40B4-BE49-F238E27FC236}">
                <a16:creationId xmlns:a16="http://schemas.microsoft.com/office/drawing/2014/main" id="{F5A26CFA-C26B-4F48-AFCC-68C933599A6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7212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/>
              <a:t>00</a:t>
            </a:r>
            <a:endParaRPr lang="en-US"/>
          </a:p>
        </p:txBody>
      </p:sp>
      <p:sp>
        <p:nvSpPr>
          <p:cNvPr id="134" name="Text Placeholder 18">
            <a:extLst>
              <a:ext uri="{FF2B5EF4-FFF2-40B4-BE49-F238E27FC236}">
                <a16:creationId xmlns:a16="http://schemas.microsoft.com/office/drawing/2014/main" id="{248854A8-0EED-4EC1-81BB-9B97B87D848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122165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5" name="Text Placeholder 18">
            <a:extLst>
              <a:ext uri="{FF2B5EF4-FFF2-40B4-BE49-F238E27FC236}">
                <a16:creationId xmlns:a16="http://schemas.microsoft.com/office/drawing/2014/main" id="{FF847E46-100F-4B85-ABC9-C63CBCF3D745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122164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36" name="Text Placeholder 18">
            <a:extLst>
              <a:ext uri="{FF2B5EF4-FFF2-40B4-BE49-F238E27FC236}">
                <a16:creationId xmlns:a16="http://schemas.microsoft.com/office/drawing/2014/main" id="{1EDAB9D3-F6BE-48C5-94F8-F0CEB0166F34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57378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37" name="Text Placeholder 31">
            <a:extLst>
              <a:ext uri="{FF2B5EF4-FFF2-40B4-BE49-F238E27FC236}">
                <a16:creationId xmlns:a16="http://schemas.microsoft.com/office/drawing/2014/main" id="{6FFEF1B8-6626-4B8C-86D2-FD64ECC7E0EE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/>
              <a:t>00</a:t>
            </a:r>
            <a:endParaRPr lang="en-US"/>
          </a:p>
        </p:txBody>
      </p:sp>
      <p:sp>
        <p:nvSpPr>
          <p:cNvPr id="138" name="Text Placeholder 18">
            <a:extLst>
              <a:ext uri="{FF2B5EF4-FFF2-40B4-BE49-F238E27FC236}">
                <a16:creationId xmlns:a16="http://schemas.microsoft.com/office/drawing/2014/main" id="{5F1270D3-9E35-4323-99FB-4AA40123E72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9" name="Text Placeholder 18">
            <a:extLst>
              <a:ext uri="{FF2B5EF4-FFF2-40B4-BE49-F238E27FC236}">
                <a16:creationId xmlns:a16="http://schemas.microsoft.com/office/drawing/2014/main" id="{1C93CA53-2F3D-4CA4-A60D-15B2C8F92786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0" name="Text Placeholder 18">
            <a:extLst>
              <a:ext uri="{FF2B5EF4-FFF2-40B4-BE49-F238E27FC236}">
                <a16:creationId xmlns:a16="http://schemas.microsoft.com/office/drawing/2014/main" id="{93C6D7CE-3B53-4781-9604-D0FE8BEF0B5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41" name="Text Placeholder 31">
            <a:extLst>
              <a:ext uri="{FF2B5EF4-FFF2-40B4-BE49-F238E27FC236}">
                <a16:creationId xmlns:a16="http://schemas.microsoft.com/office/drawing/2014/main" id="{F09C8D30-46AD-4E01-B69D-ECF0E9639720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/>
              <a:t>00</a:t>
            </a:r>
            <a:endParaRPr lang="en-US"/>
          </a:p>
        </p:txBody>
      </p:sp>
      <p:sp>
        <p:nvSpPr>
          <p:cNvPr id="142" name="Text Placeholder 18">
            <a:extLst>
              <a:ext uri="{FF2B5EF4-FFF2-40B4-BE49-F238E27FC236}">
                <a16:creationId xmlns:a16="http://schemas.microsoft.com/office/drawing/2014/main" id="{6BBF8358-0312-4476-A379-4092F5096A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131FAF0A-F8E5-4E88-BBC2-856B2610CB5C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DF585C99-0360-4056-A9DA-37C046EC20F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2D049B-FF10-4FE9-B55A-5E1428FB2026}"/>
              </a:ext>
            </a:extLst>
          </p:cNvPr>
          <p:cNvSpPr>
            <a:spLocks noGrp="1"/>
          </p:cNvSpPr>
          <p:nvPr>
            <p:ph type="ftr" sz="quarter" idx="110"/>
          </p:nvPr>
        </p:nvSpPr>
        <p:spPr/>
        <p:txBody>
          <a:bodyPr/>
          <a:lstStyle/>
          <a:p>
            <a:r>
              <a:rPr lang="fr-FR"/>
              <a:t>12/01/2022  |  ©2022 Inetum  | Réunion de Présentation interne - v1.0   Classification: [internal] document TMA Occitanie</a:t>
            </a:r>
            <a:endParaRPr lang="en-US"/>
          </a:p>
        </p:txBody>
      </p:sp>
      <p:sp>
        <p:nvSpPr>
          <p:cNvPr id="21" name="Titre 3">
            <a:extLst>
              <a:ext uri="{FF2B5EF4-FFF2-40B4-BE49-F238E27FC236}">
                <a16:creationId xmlns:a16="http://schemas.microsoft.com/office/drawing/2014/main" id="{AE0B397F-537F-475A-B197-1EC9819F9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9991594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635212" y="1243896"/>
            <a:ext cx="2779121" cy="5224699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1800"/>
            </a:lvl2pPr>
            <a:lvl3pPr>
              <a:lnSpc>
                <a:spcPct val="95000"/>
              </a:lnSpc>
              <a:defRPr sz="1600"/>
            </a:lvl3pPr>
            <a:lvl4pPr>
              <a:lnSpc>
                <a:spcPct val="95000"/>
              </a:lnSpc>
              <a:defRPr sz="1400"/>
            </a:lvl4pPr>
            <a:lvl5pPr>
              <a:lnSpc>
                <a:spcPct val="95000"/>
              </a:lnSpc>
              <a:defRPr sz="12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432" y="1240325"/>
            <a:ext cx="2779121" cy="5238296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1800"/>
            </a:lvl2pPr>
            <a:lvl3pPr>
              <a:lnSpc>
                <a:spcPct val="95000"/>
              </a:lnSpc>
              <a:defRPr sz="1600"/>
            </a:lvl3pPr>
            <a:lvl4pPr>
              <a:lnSpc>
                <a:spcPct val="95000"/>
              </a:lnSpc>
              <a:defRPr sz="1400"/>
            </a:lvl4pPr>
            <a:lvl5pPr>
              <a:lnSpc>
                <a:spcPct val="95000"/>
              </a:lnSpc>
              <a:defRPr sz="12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616843" y="1249378"/>
            <a:ext cx="2779121" cy="5229244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1800"/>
            </a:lvl2pPr>
            <a:lvl3pPr>
              <a:lnSpc>
                <a:spcPct val="95000"/>
              </a:lnSpc>
              <a:defRPr sz="1600"/>
            </a:lvl3pPr>
            <a:lvl4pPr>
              <a:lnSpc>
                <a:spcPct val="95000"/>
              </a:lnSpc>
              <a:defRPr sz="1400"/>
            </a:lvl4pPr>
            <a:lvl5pPr>
              <a:lnSpc>
                <a:spcPct val="95000"/>
              </a:lnSpc>
              <a:defRPr sz="12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564872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é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11"/>
          <p:cNvSpPr txBox="1"/>
          <p:nvPr userDrawn="1"/>
        </p:nvSpPr>
        <p:spPr>
          <a:xfrm>
            <a:off x="0" y="6741368"/>
            <a:ext cx="9906000" cy="116632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22" name="Espace réservé pour une image  12"/>
          <p:cNvSpPr>
            <a:spLocks noGrp="1"/>
          </p:cNvSpPr>
          <p:nvPr>
            <p:ph type="pic" sz="quarter" idx="25"/>
          </p:nvPr>
        </p:nvSpPr>
        <p:spPr>
          <a:xfrm>
            <a:off x="7572682" y="0"/>
            <a:ext cx="2333317" cy="685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433" y="419858"/>
            <a:ext cx="6343342" cy="997392"/>
          </a:xfrm>
        </p:spPr>
        <p:txBody>
          <a:bodyPr tIns="198000" bIns="0" anchor="t"/>
          <a:lstStyle>
            <a:lvl1pPr>
              <a:lnSpc>
                <a:spcPct val="70000"/>
              </a:lnSpc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2423" y="2990849"/>
            <a:ext cx="2075509" cy="3609976"/>
          </a:xfrm>
        </p:spPr>
        <p:txBody>
          <a:bodyPr bIns="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300"/>
            </a:lvl1pPr>
            <a:lvl2pPr marL="108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200"/>
            </a:lvl2pPr>
            <a:lvl3pPr marL="216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100"/>
            </a:lvl3pPr>
            <a:lvl4pPr marL="324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050"/>
            </a:lvl4pPr>
            <a:lvl5pPr marL="432000" indent="-108000">
              <a:defRPr sz="10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7150" y="98195"/>
            <a:ext cx="5835600" cy="306000"/>
          </a:xfrm>
        </p:spPr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619433" y="2600325"/>
            <a:ext cx="2078553" cy="285388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3" name="Espace réservé pour une image  12"/>
          <p:cNvSpPr>
            <a:spLocks noGrp="1"/>
          </p:cNvSpPr>
          <p:nvPr>
            <p:ph type="pic" sz="quarter" idx="16" hasCustomPrompt="1"/>
          </p:nvPr>
        </p:nvSpPr>
        <p:spPr>
          <a:xfrm>
            <a:off x="619126" y="1605670"/>
            <a:ext cx="2361564" cy="881109"/>
          </a:xfr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400"/>
            </a:lvl1pPr>
          </a:lstStyle>
          <a:p>
            <a:r>
              <a:rPr lang="fr-FR"/>
              <a:t>Insérer ici le logo client</a:t>
            </a:r>
          </a:p>
        </p:txBody>
      </p:sp>
      <p:pic>
        <p:nvPicPr>
          <p:cNvPr id="38" name="Image 3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543"/>
          <a:stretch>
            <a:fillRect/>
          </a:stretch>
        </p:blipFill>
        <p:spPr>
          <a:xfrm>
            <a:off x="7007382" y="78196"/>
            <a:ext cx="508636" cy="330406"/>
          </a:xfrm>
          <a:custGeom>
            <a:avLst/>
            <a:gdLst>
              <a:gd name="connsiteX0" fmla="*/ 509253 w 552756"/>
              <a:gd name="connsiteY0" fmla="*/ 264808 h 359066"/>
              <a:gd name="connsiteX1" fmla="*/ 552756 w 552756"/>
              <a:gd name="connsiteY1" fmla="*/ 264808 h 359066"/>
              <a:gd name="connsiteX2" fmla="*/ 552756 w 552756"/>
              <a:gd name="connsiteY2" fmla="*/ 347530 h 359066"/>
              <a:gd name="connsiteX3" fmla="*/ 509253 w 552756"/>
              <a:gd name="connsiteY3" fmla="*/ 347530 h 359066"/>
              <a:gd name="connsiteX4" fmla="*/ 0 w 552756"/>
              <a:gd name="connsiteY4" fmla="*/ 0 h 359066"/>
              <a:gd name="connsiteX5" fmla="*/ 509253 w 552756"/>
              <a:gd name="connsiteY5" fmla="*/ 0 h 359066"/>
              <a:gd name="connsiteX6" fmla="*/ 509253 w 552756"/>
              <a:gd name="connsiteY6" fmla="*/ 264808 h 359066"/>
              <a:gd name="connsiteX7" fmla="*/ 191069 w 552756"/>
              <a:gd name="connsiteY7" fmla="*/ 264808 h 359066"/>
              <a:gd name="connsiteX8" fmla="*/ 191069 w 552756"/>
              <a:gd name="connsiteY8" fmla="*/ 347530 h 359066"/>
              <a:gd name="connsiteX9" fmla="*/ 509253 w 552756"/>
              <a:gd name="connsiteY9" fmla="*/ 347530 h 359066"/>
              <a:gd name="connsiteX10" fmla="*/ 509253 w 552756"/>
              <a:gd name="connsiteY10" fmla="*/ 359066 h 359066"/>
              <a:gd name="connsiteX11" fmla="*/ 0 w 552756"/>
              <a:gd name="connsiteY11" fmla="*/ 359066 h 359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52756" h="359066">
                <a:moveTo>
                  <a:pt x="509253" y="264808"/>
                </a:moveTo>
                <a:lnTo>
                  <a:pt x="552756" y="264808"/>
                </a:lnTo>
                <a:lnTo>
                  <a:pt x="552756" y="347530"/>
                </a:lnTo>
                <a:lnTo>
                  <a:pt x="509253" y="347530"/>
                </a:lnTo>
                <a:close/>
                <a:moveTo>
                  <a:pt x="0" y="0"/>
                </a:moveTo>
                <a:lnTo>
                  <a:pt x="509253" y="0"/>
                </a:lnTo>
                <a:lnTo>
                  <a:pt x="509253" y="264808"/>
                </a:lnTo>
                <a:lnTo>
                  <a:pt x="191069" y="264808"/>
                </a:lnTo>
                <a:lnTo>
                  <a:pt x="191069" y="347530"/>
                </a:lnTo>
                <a:lnTo>
                  <a:pt x="509253" y="347530"/>
                </a:lnTo>
                <a:lnTo>
                  <a:pt x="509253" y="359066"/>
                </a:lnTo>
                <a:lnTo>
                  <a:pt x="0" y="359066"/>
                </a:lnTo>
                <a:close/>
              </a:path>
            </a:pathLst>
          </a:custGeom>
        </p:spPr>
      </p:pic>
      <p:sp>
        <p:nvSpPr>
          <p:cNvPr id="55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2971708" y="2600325"/>
            <a:ext cx="2078553" cy="285388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</a:t>
            </a:r>
          </a:p>
        </p:txBody>
      </p:sp>
      <p:cxnSp>
        <p:nvCxnSpPr>
          <p:cNvPr id="56" name="Connecteur droit 55"/>
          <p:cNvCxnSpPr/>
          <p:nvPr userDrawn="1"/>
        </p:nvCxnSpPr>
        <p:spPr>
          <a:xfrm>
            <a:off x="2971400" y="2914288"/>
            <a:ext cx="342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359153" y="2600325"/>
            <a:ext cx="2078553" cy="285388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Titre</a:t>
            </a:r>
          </a:p>
        </p:txBody>
      </p:sp>
      <p:cxnSp>
        <p:nvCxnSpPr>
          <p:cNvPr id="59" name="Connecteur droit 58"/>
          <p:cNvCxnSpPr/>
          <p:nvPr userDrawn="1"/>
        </p:nvCxnSpPr>
        <p:spPr>
          <a:xfrm>
            <a:off x="5358845" y="2914288"/>
            <a:ext cx="342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 userDrawn="1"/>
        </p:nvCxnSpPr>
        <p:spPr>
          <a:xfrm>
            <a:off x="617992" y="2914288"/>
            <a:ext cx="342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/>
          <p:cNvSpPr>
            <a:spLocks noGrp="1"/>
          </p:cNvSpPr>
          <p:nvPr>
            <p:ph sz="half" idx="34"/>
          </p:nvPr>
        </p:nvSpPr>
        <p:spPr>
          <a:xfrm>
            <a:off x="2971708" y="2990849"/>
            <a:ext cx="2075509" cy="3609976"/>
          </a:xfrm>
        </p:spPr>
        <p:txBody>
          <a:bodyPr bIns="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300"/>
            </a:lvl1pPr>
            <a:lvl2pPr marL="108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200"/>
            </a:lvl2pPr>
            <a:lvl3pPr marL="216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100"/>
            </a:lvl3pPr>
            <a:lvl4pPr marL="324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050"/>
            </a:lvl4pPr>
            <a:lvl5pPr marL="432000" indent="-108000">
              <a:defRPr sz="10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sz="half" idx="35"/>
          </p:nvPr>
        </p:nvSpPr>
        <p:spPr>
          <a:xfrm>
            <a:off x="5359153" y="2990849"/>
            <a:ext cx="2075509" cy="3609976"/>
          </a:xfrm>
        </p:spPr>
        <p:txBody>
          <a:bodyPr bIns="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300"/>
            </a:lvl1pPr>
            <a:lvl2pPr marL="108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200"/>
            </a:lvl2pPr>
            <a:lvl3pPr marL="216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100"/>
            </a:lvl3pPr>
            <a:lvl4pPr marL="324000" marR="0" indent="-1080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Tx/>
              <a:buFont typeface="Myriad Pro" panose="020B0503030403020204" pitchFamily="34" charset="0"/>
              <a:buChar char="›"/>
              <a:tabLst/>
              <a:defRPr sz="1050"/>
            </a:lvl4pPr>
            <a:lvl5pPr marL="432000" indent="-108000">
              <a:defRPr sz="10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11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encart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5C5C5C">
                    <a:lumMod val="60000"/>
                    <a:lumOff val="40000"/>
                  </a:srgbClr>
                </a:solidFill>
              </a:rPr>
              <a:t>Interne - DIG - Présentation Outils BU</a:t>
            </a:r>
            <a:endParaRPr lang="en-US">
              <a:solidFill>
                <a:srgbClr val="5C5C5C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AF52A2-F75A-4940-9AD6-D5031E7C29D7}" type="slidenum">
              <a:rPr lang="fr-FR" smtClean="0">
                <a:solidFill>
                  <a:srgbClr val="FFFFFF"/>
                </a:solidFill>
              </a:rPr>
              <a:pPr/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5029201"/>
            <a:ext cx="9906000" cy="1866900"/>
          </a:xfrm>
          <a:prstGeom prst="rect">
            <a:avLst/>
          </a:prstGeom>
          <a:solidFill>
            <a:srgbClr val="1018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6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47700" y="5245101"/>
            <a:ext cx="8585200" cy="1384300"/>
          </a:xfrm>
        </p:spPr>
        <p:txBody>
          <a:bodyPr/>
          <a:lstStyle>
            <a:lvl1pPr marL="0" indent="0" algn="l" defTabSz="873126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None/>
              <a:defRPr lang="pt-PT" sz="2200" kern="1200" dirty="0" smtClean="0">
                <a:solidFill>
                  <a:srgbClr val="FFFFFF"/>
                </a:solidFill>
                <a:latin typeface="Calibri" pitchFamily="34" charset="0"/>
                <a:ea typeface="ＭＳ Ｐゴシック" charset="-128"/>
                <a:cs typeface="+mn-cs"/>
              </a:defRPr>
            </a:lvl1pPr>
            <a:lvl2pPr marL="515775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2pPr>
            <a:lvl3pPr marL="1031547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3pPr>
            <a:lvl4pPr marL="1547322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4pPr>
            <a:lvl5pPr marL="2063094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Master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styles</a:t>
            </a:r>
            <a:endParaRPr lang="pt-PT"/>
          </a:p>
          <a:p>
            <a:pPr lvl="1"/>
            <a:r>
              <a:rPr lang="pt-PT" err="1"/>
              <a:t>Second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2"/>
            <a:r>
              <a:rPr lang="pt-PT" err="1"/>
              <a:t>Third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3"/>
            <a:r>
              <a:rPr lang="pt-PT" err="1"/>
              <a:t>Fourth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4"/>
            <a:r>
              <a:rPr lang="pt-PT" err="1"/>
              <a:t>Fifth</a:t>
            </a:r>
            <a:r>
              <a:rPr lang="pt-PT"/>
              <a:t> </a:t>
            </a:r>
            <a:r>
              <a:rPr lang="pt-PT" err="1"/>
              <a:t>level</a:t>
            </a:r>
            <a:endParaRPr lang="en-US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38"/>
            <a:ext cx="784624" cy="532226"/>
          </a:xfrm>
          <a:prstGeom prst="rect">
            <a:avLst/>
          </a:prstGeom>
        </p:spPr>
      </p:pic>
      <p:sp>
        <p:nvSpPr>
          <p:cNvPr id="11" name="Espace réservé du texte 3"/>
          <p:cNvSpPr>
            <a:spLocks noGrp="1"/>
          </p:cNvSpPr>
          <p:nvPr>
            <p:ph type="body" sz="quarter" idx="14"/>
          </p:nvPr>
        </p:nvSpPr>
        <p:spPr>
          <a:xfrm>
            <a:off x="630864" y="1351776"/>
            <a:ext cx="8652986" cy="334722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1952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s + encart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5C5C5C">
                    <a:lumMod val="60000"/>
                    <a:lumOff val="40000"/>
                  </a:srgbClr>
                </a:solidFill>
              </a:rPr>
              <a:t>Interne - DIG - Présentation Outils BU</a:t>
            </a:r>
            <a:endParaRPr lang="en-US">
              <a:solidFill>
                <a:srgbClr val="5C5C5C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AF52A2-F75A-4940-9AD6-D5031E7C29D7}" type="slidenum">
              <a:rPr lang="fr-FR" smtClean="0">
                <a:solidFill>
                  <a:srgbClr val="FFFFFF"/>
                </a:solidFill>
              </a:rPr>
              <a:pPr/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5029201"/>
            <a:ext cx="9906000" cy="1866900"/>
          </a:xfrm>
          <a:prstGeom prst="rect">
            <a:avLst/>
          </a:prstGeom>
          <a:solidFill>
            <a:srgbClr val="1018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6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9" name="Espace réservé du texte 3"/>
          <p:cNvSpPr>
            <a:spLocks noGrp="1"/>
          </p:cNvSpPr>
          <p:nvPr>
            <p:ph type="body" sz="quarter" idx="14"/>
          </p:nvPr>
        </p:nvSpPr>
        <p:spPr>
          <a:xfrm>
            <a:off x="630863" y="1351776"/>
            <a:ext cx="4169737" cy="334722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3"/>
          <p:cNvSpPr>
            <a:spLocks noGrp="1"/>
          </p:cNvSpPr>
          <p:nvPr>
            <p:ph type="body" sz="quarter" idx="15"/>
          </p:nvPr>
        </p:nvSpPr>
        <p:spPr>
          <a:xfrm>
            <a:off x="5110370" y="1351776"/>
            <a:ext cx="4152900" cy="334722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47700" y="5245101"/>
            <a:ext cx="8585200" cy="1384300"/>
          </a:xfrm>
        </p:spPr>
        <p:txBody>
          <a:bodyPr/>
          <a:lstStyle>
            <a:lvl1pPr marL="0" indent="0" algn="l" defTabSz="873126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None/>
              <a:defRPr lang="pt-PT" sz="2200" kern="1200" dirty="0" smtClean="0">
                <a:solidFill>
                  <a:srgbClr val="FFFFFF"/>
                </a:solidFill>
                <a:latin typeface="Calibri" pitchFamily="34" charset="0"/>
                <a:ea typeface="ＭＳ Ｐゴシック" charset="-128"/>
                <a:cs typeface="+mn-cs"/>
              </a:defRPr>
            </a:lvl1pPr>
            <a:lvl2pPr marL="515775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2pPr>
            <a:lvl3pPr marL="1031547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3pPr>
            <a:lvl4pPr marL="1547322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4pPr>
            <a:lvl5pPr marL="2063094" indent="0">
              <a:lnSpc>
                <a:spcPct val="80000"/>
              </a:lnSpc>
              <a:buClr>
                <a:schemeClr val="accent1"/>
              </a:buClr>
              <a:buFont typeface="Lucida Grande"/>
              <a:buNone/>
              <a:defRPr sz="2200">
                <a:solidFill>
                  <a:srgbClr val="FFFFFF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Master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styles</a:t>
            </a:r>
            <a:endParaRPr lang="pt-PT"/>
          </a:p>
          <a:p>
            <a:pPr lvl="1"/>
            <a:r>
              <a:rPr lang="pt-PT" err="1"/>
              <a:t>Second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2"/>
            <a:r>
              <a:rPr lang="pt-PT" err="1"/>
              <a:t>Third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3"/>
            <a:r>
              <a:rPr lang="pt-PT" err="1"/>
              <a:t>Fourth</a:t>
            </a:r>
            <a:r>
              <a:rPr lang="pt-PT"/>
              <a:t> </a:t>
            </a:r>
            <a:r>
              <a:rPr lang="pt-PT" err="1"/>
              <a:t>level</a:t>
            </a:r>
            <a:endParaRPr lang="pt-PT"/>
          </a:p>
          <a:p>
            <a:pPr lvl="4"/>
            <a:r>
              <a:rPr lang="pt-PT" err="1"/>
              <a:t>Fifth</a:t>
            </a:r>
            <a:r>
              <a:rPr lang="pt-PT"/>
              <a:t> </a:t>
            </a:r>
            <a:r>
              <a:rPr lang="pt-PT" err="1"/>
              <a:t>level</a:t>
            </a:r>
            <a:endParaRPr lang="en-US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38"/>
            <a:ext cx="784624" cy="532226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91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90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ernièr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514" y="5896470"/>
            <a:ext cx="951809" cy="67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545118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5879" y="486383"/>
            <a:ext cx="8543925" cy="1777315"/>
          </a:xfrm>
        </p:spPr>
        <p:txBody>
          <a:bodyPr tIns="0" bIns="0" anchor="b"/>
          <a:lstStyle>
            <a:lvl1pPr>
              <a:defRPr sz="6000"/>
            </a:lvl1pPr>
          </a:lstStyle>
          <a:p>
            <a:r>
              <a:rPr lang="fr-FR"/>
              <a:t>Sommai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2568103"/>
            <a:ext cx="8166669" cy="3910518"/>
          </a:xfrm>
        </p:spPr>
        <p:txBody>
          <a:bodyPr>
            <a:normAutofit/>
          </a:bodyPr>
          <a:lstStyle>
            <a:lvl1pPr marL="432000" marR="0" indent="-43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romanUcPeriod"/>
              <a:tabLst/>
              <a:defRPr sz="2000" b="1" baseline="0">
                <a:solidFill>
                  <a:schemeClr val="tx1"/>
                </a:solidFill>
              </a:defRPr>
            </a:lvl1pPr>
            <a:lvl2pPr marL="684000" indent="-28800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i="1">
                <a:solidFill>
                  <a:schemeClr val="accent1"/>
                </a:solidFill>
              </a:defRPr>
            </a:lvl2pPr>
            <a:lvl3pPr marL="864000" indent="-180000">
              <a:buClr>
                <a:schemeClr val="bg1">
                  <a:lumMod val="65000"/>
                </a:schemeClr>
              </a:buClr>
              <a:buFont typeface="Myriad Pro" panose="020B0503030403020204" pitchFamily="34" charset="0"/>
              <a:buChar char="›"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008000" indent="-108000">
              <a:buClr>
                <a:schemeClr val="accent3"/>
              </a:buClr>
              <a:buFont typeface="Myriad Pro" panose="020B0503030403020204" pitchFamily="34" charset="0"/>
              <a:buChar char="›"/>
              <a:defRPr sz="1400">
                <a:solidFill>
                  <a:schemeClr val="accent3"/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7298259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calai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Résultat de recherche d'images pour &quot;business meeting wallpaper&quot;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"/>
          <a:stretch/>
        </p:blipFill>
        <p:spPr bwMode="auto">
          <a:xfrm>
            <a:off x="0" y="-1"/>
            <a:ext cx="9906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38"/>
            <a:ext cx="784624" cy="532226"/>
          </a:xfrm>
          <a:prstGeom prst="rect">
            <a:avLst/>
          </a:prstGeom>
        </p:spPr>
      </p:pic>
      <p:sp>
        <p:nvSpPr>
          <p:cNvPr id="6" name="Espace réservé de la date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128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tercalai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918000" cy="690411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38"/>
            <a:ext cx="784624" cy="532226"/>
          </a:xfrm>
          <a:prstGeom prst="rect">
            <a:avLst/>
          </a:prstGeom>
        </p:spPr>
      </p:pic>
      <p:sp>
        <p:nvSpPr>
          <p:cNvPr id="6" name="Espace réservé de la date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3932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tercalai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-1"/>
            <a:ext cx="9907588" cy="6858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AutoShape 4" descr="Résultat de recherche d'images pour &quot;automate picture&quot;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8" name="AutoShape 6" descr="https://www.elmnet.co.uk/wp-content/uploads/2017/08/automate.jpg"/>
          <p:cNvSpPr>
            <a:spLocks noChangeAspect="1" noChangeArrowheads="1"/>
          </p:cNvSpPr>
          <p:nvPr userDrawn="1"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42"/>
            <a:ext cx="784624" cy="53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12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906000" cy="690411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solidFill>
            <a:schemeClr val="accent1"/>
          </a:solidFill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42"/>
            <a:ext cx="784624" cy="53222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1182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"/>
            <a:ext cx="9906000" cy="685799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solidFill>
            <a:schemeClr val="accent1"/>
          </a:solidFill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42"/>
            <a:ext cx="784624" cy="53222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942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Résultat de recherche d'images pour &quot;database wallpaper&quot;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85" b="4348"/>
          <a:stretch/>
        </p:blipFill>
        <p:spPr bwMode="auto">
          <a:xfrm>
            <a:off x="0" y="-1"/>
            <a:ext cx="9906000" cy="68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Interne - DIG - Présentation Outils B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solidFill>
            <a:schemeClr val="accent1"/>
          </a:solidFill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86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calai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5C5C5C">
                    <a:lumMod val="60000"/>
                    <a:lumOff val="40000"/>
                  </a:srgbClr>
                </a:solidFill>
              </a:rPr>
              <a:t>Interne - DIG - Présentation Outils BU</a:t>
            </a:r>
            <a:endParaRPr lang="en-US">
              <a:solidFill>
                <a:srgbClr val="5C5C5C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38"/>
            <a:ext cx="784624" cy="532226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162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calai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able Placeholder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"/>
            <a:ext cx="9906000" cy="6857999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73862" y="-1"/>
            <a:ext cx="3671688" cy="6912000"/>
          </a:xfrm>
          <a:prstGeom prst="rect">
            <a:avLst/>
          </a:prstGeom>
          <a:solidFill>
            <a:srgbClr val="101828">
              <a:alpha val="92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4027" y="2806656"/>
            <a:ext cx="3276588" cy="3030207"/>
          </a:xfrm>
        </p:spPr>
        <p:txBody>
          <a:bodyPr vert="horz" anchor="t"/>
          <a:lstStyle>
            <a:lvl1pPr>
              <a:lnSpc>
                <a:spcPct val="80000"/>
              </a:lnSpc>
              <a:defRPr lang="pt-PT" sz="3600" b="0" kern="1200" dirty="0" err="1" smtClean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/>
              <a:t>CLIQUEZ POUR AJOUTER UN TIT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5C5C5C">
                    <a:lumMod val="60000"/>
                    <a:lumOff val="40000"/>
                  </a:srgbClr>
                </a:solidFill>
              </a:rPr>
              <a:t>Interne - DIG - Présentation Outils BU</a:t>
            </a:r>
            <a:endParaRPr lang="en-US">
              <a:solidFill>
                <a:srgbClr val="5C5C5C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>
            <a:noFill/>
          </a:ln>
        </p:spPr>
        <p:txBody>
          <a:bodyPr/>
          <a:lstStyle/>
          <a:p>
            <a:fld id="{DAAF52A2-F75A-4940-9AD6-D5031E7C29D7}" type="slidenum">
              <a:rPr>
                <a:solidFill>
                  <a:srgbClr val="FFFFFF"/>
                </a:solidFill>
              </a:rPr>
              <a:pPr/>
              <a:t>‹N°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8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1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8355" y="6090242"/>
            <a:ext cx="784624" cy="532227"/>
          </a:xfrm>
          <a:prstGeom prst="rect">
            <a:avLst/>
          </a:prstGeom>
        </p:spPr>
      </p:pic>
      <p:sp>
        <p:nvSpPr>
          <p:cNvPr id="6" name="Espace réservé de la date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0560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Résultat de recherche d'images pour &quot;tools picture&quot;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906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416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13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188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Résultat de recherche d'images pour &quot;learning picture&quot;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08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Résultat de recherche d'images pour &quot;construction picture&quot;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2"/>
            <a:ext cx="9911321" cy="6858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5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Résultat de recherche d'images pour &quot;conclusion pictures&quot;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9929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55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Résultat de recherche d'images pour &quot;map compass picture&quot;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511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0"/>
            <a:ext cx="3671688" cy="6858000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76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ercalai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Résultat de recherche d'images pour &quot;monitoring picture&quot;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"/>
          <a:stretch/>
        </p:blipFill>
        <p:spPr bwMode="auto">
          <a:xfrm>
            <a:off x="0" y="0"/>
            <a:ext cx="9900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0"/>
            <a:ext cx="3671688" cy="6858000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89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34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92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432" y="540213"/>
            <a:ext cx="8614721" cy="443198"/>
          </a:xfrm>
        </p:spPr>
        <p:txBody>
          <a:bodyPr tIns="0" bIns="0" anchor="b">
            <a:sp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2" y="1638299"/>
            <a:ext cx="8614721" cy="484032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619126" y="987228"/>
            <a:ext cx="8615028" cy="651072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FontTx/>
              <a:buNone/>
              <a:defRPr sz="2200" b="1" i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48531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" y="0"/>
            <a:ext cx="9903279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673862" y="-1"/>
            <a:ext cx="3671688" cy="6858001"/>
          </a:xfrm>
          <a:prstGeom prst="rect">
            <a:avLst/>
          </a:prstGeom>
          <a:solidFill>
            <a:srgbClr val="101828">
              <a:alpha val="91765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5">
              <a:solidFill>
                <a:srgbClr val="FFFFFF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14027" y="1233376"/>
            <a:ext cx="1942239" cy="1441451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pt-PT" sz="9600" kern="1200" dirty="0" smtClean="0">
                <a:solidFill>
                  <a:schemeClr val="accent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lvl="0" algn="l"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/>
              <a:t>01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814027" y="2806652"/>
            <a:ext cx="3249033" cy="3027911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36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CLIQUEZ POUR AJOUTER UN TITR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40" y="6089653"/>
            <a:ext cx="784193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68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5C5C5C">
                    <a:lumMod val="60000"/>
                    <a:lumOff val="40000"/>
                  </a:srgbClr>
                </a:solidFill>
              </a:rPr>
              <a:t>INSÉRER ICI LE TITRE DE VOTRE PRÉSENTATION</a:t>
            </a:r>
            <a:endParaRPr lang="en-US">
              <a:solidFill>
                <a:srgbClr val="5C5C5C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AF52A2-F75A-4940-9AD6-D5031E7C29D7}" type="slidenum">
              <a:rPr lang="fr-FR" smtClean="0">
                <a:solidFill>
                  <a:srgbClr val="FFFFFF"/>
                </a:solidFill>
              </a:rPr>
              <a:pPr/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630863" y="917918"/>
            <a:ext cx="8614737" cy="6096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>
                <a:solidFill>
                  <a:srgbClr val="303F48"/>
                </a:solidFill>
              </a:defRPr>
            </a:lvl1pPr>
            <a:lvl2pPr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pt-PT"/>
              <a:t>Cliquez pour ajouter du texte</a:t>
            </a:r>
          </a:p>
        </p:txBody>
      </p:sp>
      <p:sp>
        <p:nvSpPr>
          <p:cNvPr id="11" name="Espace réservé du texte 9"/>
          <p:cNvSpPr>
            <a:spLocks noGrp="1"/>
          </p:cNvSpPr>
          <p:nvPr>
            <p:ph type="body" sz="quarter" idx="13"/>
          </p:nvPr>
        </p:nvSpPr>
        <p:spPr>
          <a:xfrm>
            <a:off x="630862" y="1534510"/>
            <a:ext cx="8602037" cy="48250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Choisir la classification du document : Public, Interne ou Confidentiel</a:t>
            </a:r>
          </a:p>
        </p:txBody>
      </p:sp>
    </p:spTree>
    <p:extLst>
      <p:ext uri="{BB962C8B-B14F-4D97-AF65-F5344CB8AC3E}">
        <p14:creationId xmlns:p14="http://schemas.microsoft.com/office/powerpoint/2010/main" val="398293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Rectangle 34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4644" y="6453336"/>
            <a:ext cx="7644475" cy="246510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fr-FR"/>
              <a:t>M020-02 Revue Qualité DIG 2016 V0.2</a:t>
            </a: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pPr>
              <a:defRPr/>
            </a:pPr>
            <a:fld id="{8ABC9975-821D-4EB4-B2A9-344FC2C4C635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76481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" y="5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5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1494770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660797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rk Cover ">
    <p:bg>
      <p:bgPr>
        <a:solidFill>
          <a:srgbClr val="222C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2290763" y="1464240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97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1097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1097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1097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F66D9963-BDB2-4715-A1D1-F4032037AA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59078" y="1315988"/>
            <a:ext cx="913210" cy="1123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6632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97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tx2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1097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1097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1097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61033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215033" y="1669252"/>
            <a:ext cx="5130998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troduction</a:t>
            </a: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1097" noProof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" name="object 4">
            <a:extLst>
              <a:ext uri="{FF2B5EF4-FFF2-40B4-BE49-F238E27FC236}">
                <a16:creationId xmlns:a16="http://schemas.microsoft.com/office/drawing/2014/main" id="{D3C0EACF-3AD5-4884-9531-06FDA14E14F3}"/>
              </a:ext>
            </a:extLst>
          </p:cNvPr>
          <p:cNvSpPr/>
          <p:nvPr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8F84A533-D15F-4251-B825-30C4967127B7}"/>
              </a:ext>
            </a:extLst>
          </p:cNvPr>
          <p:cNvSpPr/>
          <p:nvPr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5815314C-9423-41A5-BEA4-E339EE8896AB}"/>
              </a:ext>
            </a:extLst>
          </p:cNvPr>
          <p:cNvSpPr/>
          <p:nvPr/>
        </p:nvSpPr>
        <p:spPr>
          <a:xfrm>
            <a:off x="8791576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1E59CB-5F39-462D-B61D-4A4C7D89DC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5033" y="2227417"/>
            <a:ext cx="5130998" cy="182985"/>
          </a:xfrm>
        </p:spPr>
        <p:txBody>
          <a:bodyPr wrap="square" tIns="14400">
            <a:spAutoFit/>
          </a:bodyPr>
          <a:lstStyle>
            <a:lvl1pPr>
              <a:spcBef>
                <a:spcPts val="0"/>
              </a:spcBef>
              <a:defRPr sz="1097">
                <a:solidFill>
                  <a:schemeClr val="accent3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43F9D-3345-4E29-AB08-377E0B10E7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53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3" name="Text Placeholder 31">
            <a:extLst>
              <a:ext uri="{FF2B5EF4-FFF2-40B4-BE49-F238E27FC236}">
                <a16:creationId xmlns:a16="http://schemas.microsoft.com/office/drawing/2014/main" id="{3511C7BF-3840-4CE8-BB5B-C7B08391350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237088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14" name="Text Placeholder 18">
            <a:extLst>
              <a:ext uri="{FF2B5EF4-FFF2-40B4-BE49-F238E27FC236}">
                <a16:creationId xmlns:a16="http://schemas.microsoft.com/office/drawing/2014/main" id="{EFD58F2A-B07B-4D2B-8951-E00DDA67D76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802040" y="4133653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5" name="Text Placeholder 18">
            <a:extLst>
              <a:ext uri="{FF2B5EF4-FFF2-40B4-BE49-F238E27FC236}">
                <a16:creationId xmlns:a16="http://schemas.microsoft.com/office/drawing/2014/main" id="{A3AA694F-FB48-41A8-B07B-EC1F3B40C39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802040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0" name="Text Placeholder 18">
            <a:extLst>
              <a:ext uri="{FF2B5EF4-FFF2-40B4-BE49-F238E27FC236}">
                <a16:creationId xmlns:a16="http://schemas.microsoft.com/office/drawing/2014/main" id="{8465A35D-EC66-40E8-80CC-6934147C890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837254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3" name="Text Placeholder 31">
            <a:extLst>
              <a:ext uri="{FF2B5EF4-FFF2-40B4-BE49-F238E27FC236}">
                <a16:creationId xmlns:a16="http://schemas.microsoft.com/office/drawing/2014/main" id="{F5A26CFA-C26B-4F48-AFCC-68C933599A6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7212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4" name="Text Placeholder 18">
            <a:extLst>
              <a:ext uri="{FF2B5EF4-FFF2-40B4-BE49-F238E27FC236}">
                <a16:creationId xmlns:a16="http://schemas.microsoft.com/office/drawing/2014/main" id="{248854A8-0EED-4EC1-81BB-9B97B87D848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122165" y="4133653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5" name="Text Placeholder 18">
            <a:extLst>
              <a:ext uri="{FF2B5EF4-FFF2-40B4-BE49-F238E27FC236}">
                <a16:creationId xmlns:a16="http://schemas.microsoft.com/office/drawing/2014/main" id="{FF847E46-100F-4B85-ABC9-C63CBCF3D745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122165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6" name="Text Placeholder 18">
            <a:extLst>
              <a:ext uri="{FF2B5EF4-FFF2-40B4-BE49-F238E27FC236}">
                <a16:creationId xmlns:a16="http://schemas.microsoft.com/office/drawing/2014/main" id="{1EDAB9D3-F6BE-48C5-94F8-F0CEB0166F34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57378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7" name="Text Placeholder 31">
            <a:extLst>
              <a:ext uri="{FF2B5EF4-FFF2-40B4-BE49-F238E27FC236}">
                <a16:creationId xmlns:a16="http://schemas.microsoft.com/office/drawing/2014/main" id="{6FFEF1B8-6626-4B8C-86D2-FD64ECC7E0EE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8" name="Text Placeholder 18">
            <a:extLst>
              <a:ext uri="{FF2B5EF4-FFF2-40B4-BE49-F238E27FC236}">
                <a16:creationId xmlns:a16="http://schemas.microsoft.com/office/drawing/2014/main" id="{5F1270D3-9E35-4323-99FB-4AA40123E72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59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9" name="Text Placeholder 18">
            <a:extLst>
              <a:ext uri="{FF2B5EF4-FFF2-40B4-BE49-F238E27FC236}">
                <a16:creationId xmlns:a16="http://schemas.microsoft.com/office/drawing/2014/main" id="{1C93CA53-2F3D-4CA4-A60D-15B2C8F92786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5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0" name="Text Placeholder 18">
            <a:extLst>
              <a:ext uri="{FF2B5EF4-FFF2-40B4-BE49-F238E27FC236}">
                <a16:creationId xmlns:a16="http://schemas.microsoft.com/office/drawing/2014/main" id="{93C6D7CE-3B53-4781-9604-D0FE8BEF0B5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1" name="Text Placeholder 31">
            <a:extLst>
              <a:ext uri="{FF2B5EF4-FFF2-40B4-BE49-F238E27FC236}">
                <a16:creationId xmlns:a16="http://schemas.microsoft.com/office/drawing/2014/main" id="{F09C8D30-46AD-4E01-B69D-ECF0E9639720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2" name="Text Placeholder 18">
            <a:extLst>
              <a:ext uri="{FF2B5EF4-FFF2-40B4-BE49-F238E27FC236}">
                <a16:creationId xmlns:a16="http://schemas.microsoft.com/office/drawing/2014/main" id="{6BBF8358-0312-4476-A379-4092F5096A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0" y="170559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131FAF0A-F8E5-4E88-BBC2-856B2610CB5C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DF585C99-0360-4056-A9DA-37C046EC20F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2D049B-FF10-4FE9-B55A-5E1428FB2026}"/>
              </a:ext>
            </a:extLst>
          </p:cNvPr>
          <p:cNvSpPr>
            <a:spLocks noGrp="1"/>
          </p:cNvSpPr>
          <p:nvPr>
            <p:ph type="ftr" sz="quarter" idx="1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1" name="Titre 3">
            <a:extLst>
              <a:ext uri="{FF2B5EF4-FFF2-40B4-BE49-F238E27FC236}">
                <a16:creationId xmlns:a16="http://schemas.microsoft.com/office/drawing/2014/main" id="{AE0B397F-537F-475A-B197-1EC9819F9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6880725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2" name="Text Placeholder 31">
            <a:extLst>
              <a:ext uri="{FF2B5EF4-FFF2-40B4-BE49-F238E27FC236}">
                <a16:creationId xmlns:a16="http://schemas.microsoft.com/office/drawing/2014/main" id="{7EC72E04-62A6-456D-9129-8BFC76A3EA7B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3" name="Text Placeholder 18">
            <a:extLst>
              <a:ext uri="{FF2B5EF4-FFF2-40B4-BE49-F238E27FC236}">
                <a16:creationId xmlns:a16="http://schemas.microsoft.com/office/drawing/2014/main" id="{75D73ABA-CA4C-4758-A70B-18788A7152E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59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4" name="Text Placeholder 18">
            <a:extLst>
              <a:ext uri="{FF2B5EF4-FFF2-40B4-BE49-F238E27FC236}">
                <a16:creationId xmlns:a16="http://schemas.microsoft.com/office/drawing/2014/main" id="{46C41AE2-59D8-4B49-848B-EA4CBB402683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5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5" name="Text Placeholder 18">
            <a:extLst>
              <a:ext uri="{FF2B5EF4-FFF2-40B4-BE49-F238E27FC236}">
                <a16:creationId xmlns:a16="http://schemas.microsoft.com/office/drawing/2014/main" id="{2220B1D5-71D2-48C3-A929-898FF8C1F57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06" name="Text Placeholder 31">
            <a:extLst>
              <a:ext uri="{FF2B5EF4-FFF2-40B4-BE49-F238E27FC236}">
                <a16:creationId xmlns:a16="http://schemas.microsoft.com/office/drawing/2014/main" id="{E2D825A0-520D-4092-8235-41A32121B04E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7" name="Text Placeholder 18">
            <a:extLst>
              <a:ext uri="{FF2B5EF4-FFF2-40B4-BE49-F238E27FC236}">
                <a16:creationId xmlns:a16="http://schemas.microsoft.com/office/drawing/2014/main" id="{22E612C7-1A1F-493A-8A38-C03F18CC687E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24441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8" name="Text Placeholder 18">
            <a:extLst>
              <a:ext uri="{FF2B5EF4-FFF2-40B4-BE49-F238E27FC236}">
                <a16:creationId xmlns:a16="http://schemas.microsoft.com/office/drawing/2014/main" id="{649F1CE4-C3CE-4985-AD3E-FC4A4AC0C2BD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5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9" name="Text Placeholder 18">
            <a:extLst>
              <a:ext uri="{FF2B5EF4-FFF2-40B4-BE49-F238E27FC236}">
                <a16:creationId xmlns:a16="http://schemas.microsoft.com/office/drawing/2014/main" id="{CB3A685A-DB20-4E5A-9F48-2108FDDDF82A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5" name="Text Placeholder 31">
            <a:extLst>
              <a:ext uri="{FF2B5EF4-FFF2-40B4-BE49-F238E27FC236}">
                <a16:creationId xmlns:a16="http://schemas.microsoft.com/office/drawing/2014/main" id="{FB61BDCE-020E-4BCF-9B3C-320CC2C9B7A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26" name="Text Placeholder 18">
            <a:extLst>
              <a:ext uri="{FF2B5EF4-FFF2-40B4-BE49-F238E27FC236}">
                <a16:creationId xmlns:a16="http://schemas.microsoft.com/office/drawing/2014/main" id="{13C2CDE7-3771-468A-A640-29AA16C285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0" y="170559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27" name="Text Placeholder 18">
            <a:extLst>
              <a:ext uri="{FF2B5EF4-FFF2-40B4-BE49-F238E27FC236}">
                <a16:creationId xmlns:a16="http://schemas.microsoft.com/office/drawing/2014/main" id="{831093BB-2135-4302-AD17-917734EC88A6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28" name="Text Placeholder 18">
            <a:extLst>
              <a:ext uri="{FF2B5EF4-FFF2-40B4-BE49-F238E27FC236}">
                <a16:creationId xmlns:a16="http://schemas.microsoft.com/office/drawing/2014/main" id="{EF93369E-2C3E-4EE7-8D1D-99C239A339E3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9" name="Text Placeholder 31">
            <a:extLst>
              <a:ext uri="{FF2B5EF4-FFF2-40B4-BE49-F238E27FC236}">
                <a16:creationId xmlns:a16="http://schemas.microsoft.com/office/drawing/2014/main" id="{C287AF80-AE6B-424F-8FDB-B11EF6A13FB2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1" name="Text Placeholder 18">
            <a:extLst>
              <a:ext uri="{FF2B5EF4-FFF2-40B4-BE49-F238E27FC236}">
                <a16:creationId xmlns:a16="http://schemas.microsoft.com/office/drawing/2014/main" id="{61424F3E-758A-41A8-BED0-46CF7C78F3D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0" y="324441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2" name="Text Placeholder 18">
            <a:extLst>
              <a:ext uri="{FF2B5EF4-FFF2-40B4-BE49-F238E27FC236}">
                <a16:creationId xmlns:a16="http://schemas.microsoft.com/office/drawing/2014/main" id="{C48A6046-5F7C-45C3-832A-2C969ACC9C87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7" name="Text Placeholder 18">
            <a:extLst>
              <a:ext uri="{FF2B5EF4-FFF2-40B4-BE49-F238E27FC236}">
                <a16:creationId xmlns:a16="http://schemas.microsoft.com/office/drawing/2014/main" id="{27D74F4C-9A89-4C62-9FBF-A53BF21FC90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2" name="Text Placeholder 31">
            <a:extLst>
              <a:ext uri="{FF2B5EF4-FFF2-40B4-BE49-F238E27FC236}">
                <a16:creationId xmlns:a16="http://schemas.microsoft.com/office/drawing/2014/main" id="{BD95E687-7F93-472F-98D4-EC938AA6550F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025B0146-CB38-42F3-839F-A26A6143E0F2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4783236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A284474C-E457-4B47-BD17-F5D8229E4172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5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5" name="Text Placeholder 18">
            <a:extLst>
              <a:ext uri="{FF2B5EF4-FFF2-40B4-BE49-F238E27FC236}">
                <a16:creationId xmlns:a16="http://schemas.microsoft.com/office/drawing/2014/main" id="{BD29F203-3EED-448C-9A44-6A9AF6E4D1AE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6" name="Text Placeholder 31">
            <a:extLst>
              <a:ext uri="{FF2B5EF4-FFF2-40B4-BE49-F238E27FC236}">
                <a16:creationId xmlns:a16="http://schemas.microsoft.com/office/drawing/2014/main" id="{37A450F0-202F-4585-8D10-F0C9C63E8342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7" name="Text Placeholder 18">
            <a:extLst>
              <a:ext uri="{FF2B5EF4-FFF2-40B4-BE49-F238E27FC236}">
                <a16:creationId xmlns:a16="http://schemas.microsoft.com/office/drawing/2014/main" id="{F15D7F17-C51A-401A-B45B-C0DD68E1A185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0" y="4783236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8" name="Text Placeholder 18">
            <a:extLst>
              <a:ext uri="{FF2B5EF4-FFF2-40B4-BE49-F238E27FC236}">
                <a16:creationId xmlns:a16="http://schemas.microsoft.com/office/drawing/2014/main" id="{EA613244-6AF1-4BED-B339-59144E1E2378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9" name="Text Placeholder 18">
            <a:extLst>
              <a:ext uri="{FF2B5EF4-FFF2-40B4-BE49-F238E27FC236}">
                <a16:creationId xmlns:a16="http://schemas.microsoft.com/office/drawing/2014/main" id="{015CB9AD-585C-4445-80B0-B9C7F59AD015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4F7EFA-6F22-4F7A-86D6-B9B9EFDEBF45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9" name="Titre 3">
            <a:extLst>
              <a:ext uri="{FF2B5EF4-FFF2-40B4-BE49-F238E27FC236}">
                <a16:creationId xmlns:a16="http://schemas.microsoft.com/office/drawing/2014/main" id="{EC744315-8B20-4BBE-A882-04AFDA114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036211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9" name="Text Placeholder 31">
            <a:extLst>
              <a:ext uri="{FF2B5EF4-FFF2-40B4-BE49-F238E27FC236}">
                <a16:creationId xmlns:a16="http://schemas.microsoft.com/office/drawing/2014/main" id="{28FBECDA-E756-436B-A2DF-561D7CBEB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7212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D29DD076-5F15-437B-BFD1-4316097E0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2165" y="170834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1" name="Text Placeholder 18">
            <a:extLst>
              <a:ext uri="{FF2B5EF4-FFF2-40B4-BE49-F238E27FC236}">
                <a16:creationId xmlns:a16="http://schemas.microsoft.com/office/drawing/2014/main" id="{2B1B91FE-791C-486B-BB38-16A0BC617D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2165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1AD460FF-7D8C-43FC-A584-F7A2A0070B2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57378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3" name="Text Placeholder 31">
            <a:extLst>
              <a:ext uri="{FF2B5EF4-FFF2-40B4-BE49-F238E27FC236}">
                <a16:creationId xmlns:a16="http://schemas.microsoft.com/office/drawing/2014/main" id="{6196209E-A760-418E-ABA2-4DD925C316F8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6316DC73-28D4-4F73-B949-6F6F5D61C2F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2668416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E6BEF16F-6B19-411C-B67C-B5AA0800E01A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5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6" name="Text Placeholder 18">
            <a:extLst>
              <a:ext uri="{FF2B5EF4-FFF2-40B4-BE49-F238E27FC236}">
                <a16:creationId xmlns:a16="http://schemas.microsoft.com/office/drawing/2014/main" id="{898B7DDA-82C5-4103-8C26-5F9811B20C9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7" name="Text Placeholder 31">
            <a:extLst>
              <a:ext uri="{FF2B5EF4-FFF2-40B4-BE49-F238E27FC236}">
                <a16:creationId xmlns:a16="http://schemas.microsoft.com/office/drawing/2014/main" id="{7DA447D7-A877-45B8-B6FB-AE90751E8876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8" name="Text Placeholder 18">
            <a:extLst>
              <a:ext uri="{FF2B5EF4-FFF2-40B4-BE49-F238E27FC236}">
                <a16:creationId xmlns:a16="http://schemas.microsoft.com/office/drawing/2014/main" id="{CFE91535-724D-49F0-92FE-8CAB5C480A12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62602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3D27B957-835E-4BF0-9537-A1AC3D952B2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5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0" name="Text Placeholder 18">
            <a:extLst>
              <a:ext uri="{FF2B5EF4-FFF2-40B4-BE49-F238E27FC236}">
                <a16:creationId xmlns:a16="http://schemas.microsoft.com/office/drawing/2014/main" id="{F84C2754-E4E9-4354-B6CB-7B5B7AA5A828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1" name="Text Placeholder 31">
            <a:extLst>
              <a:ext uri="{FF2B5EF4-FFF2-40B4-BE49-F238E27FC236}">
                <a16:creationId xmlns:a16="http://schemas.microsoft.com/office/drawing/2014/main" id="{8C74BB45-5D6F-48E6-9347-96EE0CC93A2A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57212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2" name="Text Placeholder 18">
            <a:extLst>
              <a:ext uri="{FF2B5EF4-FFF2-40B4-BE49-F238E27FC236}">
                <a16:creationId xmlns:a16="http://schemas.microsoft.com/office/drawing/2014/main" id="{BCD1C6AA-1F9C-4210-9D36-274FD1A6AE79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1122165" y="458363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3" name="Text Placeholder 18">
            <a:extLst>
              <a:ext uri="{FF2B5EF4-FFF2-40B4-BE49-F238E27FC236}">
                <a16:creationId xmlns:a16="http://schemas.microsoft.com/office/drawing/2014/main" id="{D180E97C-CAF1-4493-AD31-C1A8E60EAEFF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122165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4" name="Text Placeholder 18">
            <a:extLst>
              <a:ext uri="{FF2B5EF4-FFF2-40B4-BE49-F238E27FC236}">
                <a16:creationId xmlns:a16="http://schemas.microsoft.com/office/drawing/2014/main" id="{7FE91E81-87F3-42A4-9446-8670F0C28A15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157378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5" name="Text Placeholder 31">
            <a:extLst>
              <a:ext uri="{FF2B5EF4-FFF2-40B4-BE49-F238E27FC236}">
                <a16:creationId xmlns:a16="http://schemas.microsoft.com/office/drawing/2014/main" id="{EDFC2B06-95E3-4B46-9D78-C5B889187574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5237088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6" name="Text Placeholder 18">
            <a:extLst>
              <a:ext uri="{FF2B5EF4-FFF2-40B4-BE49-F238E27FC236}">
                <a16:creationId xmlns:a16="http://schemas.microsoft.com/office/drawing/2014/main" id="{5C8CF654-7CDC-4671-BA3F-6E43C2F3D930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802040" y="170834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7" name="Text Placeholder 18">
            <a:extLst>
              <a:ext uri="{FF2B5EF4-FFF2-40B4-BE49-F238E27FC236}">
                <a16:creationId xmlns:a16="http://schemas.microsoft.com/office/drawing/2014/main" id="{AA689F23-6793-46A5-BC3A-C3C394EB61B7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5802040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8" name="Text Placeholder 18">
            <a:extLst>
              <a:ext uri="{FF2B5EF4-FFF2-40B4-BE49-F238E27FC236}">
                <a16:creationId xmlns:a16="http://schemas.microsoft.com/office/drawing/2014/main" id="{ED61CF7D-5129-427A-9E6A-C2D5A0108EF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3" name="Text Placeholder 18">
            <a:extLst>
              <a:ext uri="{FF2B5EF4-FFF2-40B4-BE49-F238E27FC236}">
                <a16:creationId xmlns:a16="http://schemas.microsoft.com/office/drawing/2014/main" id="{C7919060-BAE1-42EF-8A05-3D8F26EC8E7B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4" name="Text Placeholder 31">
            <a:extLst>
              <a:ext uri="{FF2B5EF4-FFF2-40B4-BE49-F238E27FC236}">
                <a16:creationId xmlns:a16="http://schemas.microsoft.com/office/drawing/2014/main" id="{DA0FFCE8-6B8A-4E0A-9547-C340275471AA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85" name="Text Placeholder 18">
            <a:extLst>
              <a:ext uri="{FF2B5EF4-FFF2-40B4-BE49-F238E27FC236}">
                <a16:creationId xmlns:a16="http://schemas.microsoft.com/office/drawing/2014/main" id="{B46C006F-C71D-4DE1-A056-5B3A93CF50D9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0" y="2668416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C3771224-2466-4D8A-A811-964F73AA6409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89" name="Text Placeholder 18">
            <a:extLst>
              <a:ext uri="{FF2B5EF4-FFF2-40B4-BE49-F238E27FC236}">
                <a16:creationId xmlns:a16="http://schemas.microsoft.com/office/drawing/2014/main" id="{76FE5254-0432-4E51-B71F-918A5A083FA8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0" name="Text Placeholder 31">
            <a:extLst>
              <a:ext uri="{FF2B5EF4-FFF2-40B4-BE49-F238E27FC236}">
                <a16:creationId xmlns:a16="http://schemas.microsoft.com/office/drawing/2014/main" id="{77CAFDB0-A524-4811-9A5F-832074D34A45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1" name="Text Placeholder 18">
            <a:extLst>
              <a:ext uri="{FF2B5EF4-FFF2-40B4-BE49-F238E27FC236}">
                <a16:creationId xmlns:a16="http://schemas.microsoft.com/office/drawing/2014/main" id="{2F7D0EC5-CECB-4014-B06D-B2DBCBFBBF3D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0" y="3626025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2" name="Text Placeholder 18">
            <a:extLst>
              <a:ext uri="{FF2B5EF4-FFF2-40B4-BE49-F238E27FC236}">
                <a16:creationId xmlns:a16="http://schemas.microsoft.com/office/drawing/2014/main" id="{8751CD9A-A0F4-4CC8-8C88-10310AE524D6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3" name="Text Placeholder 18">
            <a:extLst>
              <a:ext uri="{FF2B5EF4-FFF2-40B4-BE49-F238E27FC236}">
                <a16:creationId xmlns:a16="http://schemas.microsoft.com/office/drawing/2014/main" id="{26FADFFE-C225-4705-860D-DF5D47B6C04F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4" name="Text Placeholder 31">
            <a:extLst>
              <a:ext uri="{FF2B5EF4-FFF2-40B4-BE49-F238E27FC236}">
                <a16:creationId xmlns:a16="http://schemas.microsoft.com/office/drawing/2014/main" id="{ED08C253-1799-4939-89C2-67FE0903595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5237088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5" name="Text Placeholder 18">
            <a:extLst>
              <a:ext uri="{FF2B5EF4-FFF2-40B4-BE49-F238E27FC236}">
                <a16:creationId xmlns:a16="http://schemas.microsoft.com/office/drawing/2014/main" id="{BA8F5A1C-3DDB-4EB6-A07B-B7ACBC8A5ACC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5802040" y="4583634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6" name="Text Placeholder 18">
            <a:extLst>
              <a:ext uri="{FF2B5EF4-FFF2-40B4-BE49-F238E27FC236}">
                <a16:creationId xmlns:a16="http://schemas.microsoft.com/office/drawing/2014/main" id="{C6330ADC-D7C7-4EFD-8348-FF37C7A173BC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5802040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7" name="Text Placeholder 18">
            <a:extLst>
              <a:ext uri="{FF2B5EF4-FFF2-40B4-BE49-F238E27FC236}">
                <a16:creationId xmlns:a16="http://schemas.microsoft.com/office/drawing/2014/main" id="{81AE0480-C514-4AD9-8691-694E141EE29E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8837254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9" name="Text Placeholder 31">
            <a:extLst>
              <a:ext uri="{FF2B5EF4-FFF2-40B4-BE49-F238E27FC236}">
                <a16:creationId xmlns:a16="http://schemas.microsoft.com/office/drawing/2014/main" id="{7268FDA8-F92E-4936-B990-FD4E9F0CC01D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37FDC6EC-A640-488F-9644-3FDD22493BD3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5540801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1873EAFB-A062-4833-B06F-62FD2E7C3DF9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5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2" name="Text Placeholder 18">
            <a:extLst>
              <a:ext uri="{FF2B5EF4-FFF2-40B4-BE49-F238E27FC236}">
                <a16:creationId xmlns:a16="http://schemas.microsoft.com/office/drawing/2014/main" id="{EE221A43-C270-4544-94DF-1ABABF451BBD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3" name="Text Placeholder 31">
            <a:extLst>
              <a:ext uri="{FF2B5EF4-FFF2-40B4-BE49-F238E27FC236}">
                <a16:creationId xmlns:a16="http://schemas.microsoft.com/office/drawing/2014/main" id="{9D8E4515-6F96-4F02-B988-811445E2351C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2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A17A929F-E044-48C5-9DD8-B47C3EF2AE1C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0" y="5540801"/>
            <a:ext cx="3412926" cy="248451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3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5D5ECF6A-91FB-4513-9425-F01C4C10BAB1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2F7DB677-C811-448B-9E9D-A05B83375084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3DF68-D79F-4DB1-B4FD-A39341DF1E94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7" name="Titre 3">
            <a:extLst>
              <a:ext uri="{FF2B5EF4-FFF2-40B4-BE49-F238E27FC236}">
                <a16:creationId xmlns:a16="http://schemas.microsoft.com/office/drawing/2014/main" id="{44057687-C51E-48EF-8ABC-CF8D8466D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4017696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2" y="1638299"/>
            <a:ext cx="4533481" cy="4840321"/>
          </a:xfrm>
        </p:spPr>
        <p:txBody>
          <a:bodyPr/>
          <a:lstStyle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619126" y="987228"/>
            <a:ext cx="8615028" cy="651072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FontTx/>
              <a:buNone/>
              <a:defRPr sz="2200" b="1" i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5314950" y="1638300"/>
            <a:ext cx="4119563" cy="439737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9432" y="540213"/>
            <a:ext cx="8614721" cy="443198"/>
          </a:xfrm>
        </p:spPr>
        <p:txBody>
          <a:bodyPr tIns="0" bIns="0" anchor="b">
            <a:sp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12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_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4" y="485445"/>
            <a:ext cx="1114424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rgbClr val="005473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79308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3311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tx2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2" name="Holder 2">
            <a:extLst>
              <a:ext uri="{FF2B5EF4-FFF2-40B4-BE49-F238E27FC236}">
                <a16:creationId xmlns:a16="http://schemas.microsoft.com/office/drawing/2014/main" id="{85B5B0C2-1E62-4343-9450-2B0AC120F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243129-780B-4E39-9EAF-CD2ED887D3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81636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Sub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4" y="485445"/>
            <a:ext cx="1114424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/>
        </p:nvSpPr>
        <p:spPr>
          <a:xfrm>
            <a:off x="8791576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1484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/>
        </p:nvSpPr>
        <p:spPr>
          <a:xfrm>
            <a:off x="8791576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20445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older 2">
            <a:extLst>
              <a:ext uri="{FF2B5EF4-FFF2-40B4-BE49-F238E27FC236}">
                <a16:creationId xmlns:a16="http://schemas.microsoft.com/office/drawing/2014/main" id="{76858CF1-1FE0-48C5-9C43-47EFD7F92F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1ABED16D-E05F-4052-AFDC-7D0B069E48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B56387-D400-4873-990C-66F86EBA3E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9EE1458B-1ACC-4A60-A6DA-3A183AD4A703}"/>
              </a:ext>
            </a:extLst>
          </p:cNvPr>
          <p:cNvSpPr/>
          <p:nvPr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14AF817-4FA3-4511-BF85-552078C6E679}"/>
              </a:ext>
            </a:extLst>
          </p:cNvPr>
          <p:cNvSpPr/>
          <p:nvPr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C87F872C-9C1D-4419-83CD-C89DB3A9AD0E}"/>
              </a:ext>
            </a:extLst>
          </p:cNvPr>
          <p:cNvSpPr/>
          <p:nvPr/>
        </p:nvSpPr>
        <p:spPr>
          <a:xfrm>
            <a:off x="8791576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</p:spTree>
    <p:extLst>
      <p:ext uri="{BB962C8B-B14F-4D97-AF65-F5344CB8AC3E}">
        <p14:creationId xmlns:p14="http://schemas.microsoft.com/office/powerpoint/2010/main" val="34901865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422106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01520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372477"/>
          </a:xfrm>
        </p:spPr>
        <p:txBody>
          <a:bodyPr wrap="square">
            <a:spAutoFit/>
          </a:bodyPr>
          <a:lstStyle>
            <a:lvl1pPr marL="110281" indent="-120656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0" indent="-120656">
              <a:buFont typeface="Wingdings" panose="05000000000000000000" pitchFamily="2" charset="2"/>
              <a:buChar char="§"/>
              <a:defRPr/>
            </a:lvl2pPr>
            <a:lvl3pPr marL="241313" indent="-119956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25" indent="-109688">
              <a:defRPr sz="914">
                <a:solidFill>
                  <a:schemeClr val="tx2"/>
                </a:solidFill>
              </a:defRPr>
            </a:lvl4pPr>
            <a:lvl5pPr marL="372938" indent="-120656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26842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2" y="1989474"/>
            <a:ext cx="4039791" cy="1422106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146CF11-ED2C-4591-88BE-369AC6EB33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23868" y="1989474"/>
            <a:ext cx="4039791" cy="1422106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2ED684-1935-43C9-97F6-75241759244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23548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4" y="1989474"/>
            <a:ext cx="2566789" cy="1422106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1832D763-A691-4EC4-9C13-3AFE8C77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65736" y="1989474"/>
            <a:ext cx="2566789" cy="1422106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32815573-BF96-4315-998A-9A2D6B6189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1996" y="1989474"/>
            <a:ext cx="2566789" cy="1422106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7E27E1-2C18-42F3-914E-B1AF02DA0F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28493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2" y="1638299"/>
            <a:ext cx="4533481" cy="4840321"/>
          </a:xfrm>
        </p:spPr>
        <p:txBody>
          <a:bodyPr/>
          <a:lstStyle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619126" y="987228"/>
            <a:ext cx="8615028" cy="651072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FontTx/>
              <a:buNone/>
              <a:defRPr sz="2200" b="1" i="1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9432" y="540213"/>
            <a:ext cx="8614721" cy="443198"/>
          </a:xfrm>
        </p:spPr>
        <p:txBody>
          <a:bodyPr tIns="0" bIns="0" anchor="b">
            <a:sp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2" name="Espace réservé pour une image  6"/>
          <p:cNvSpPr>
            <a:spLocks noGrp="1"/>
          </p:cNvSpPr>
          <p:nvPr>
            <p:ph type="pic" sz="quarter" idx="15"/>
          </p:nvPr>
        </p:nvSpPr>
        <p:spPr>
          <a:xfrm>
            <a:off x="5314950" y="1648028"/>
            <a:ext cx="4119563" cy="4397375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021414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48C2F0-8F0D-4C02-9F19-6DF2108E0F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261672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A6FBA34-91D9-42CD-A3FE-DC53ABE99F6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31606" y="2057400"/>
            <a:ext cx="4117181" cy="4102899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4" y="697702"/>
            <a:ext cx="756106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4" y="1989474"/>
            <a:ext cx="4039791" cy="1422106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BF8A56-100E-4902-968B-3CDFE43D67D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35818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5755A9E-B5F9-42B8-A663-09F0B19A19E0}"/>
              </a:ext>
            </a:extLst>
          </p:cNvPr>
          <p:cNvSpPr/>
          <p:nvPr/>
        </p:nvSpPr>
        <p:spPr>
          <a:xfrm>
            <a:off x="0" y="0"/>
            <a:ext cx="32194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7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3DC93F4-A945-42B6-9692-126B44277D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3219450" cy="6857999"/>
          </a:xfrm>
          <a:custGeom>
            <a:avLst/>
            <a:gdLst>
              <a:gd name="connsiteX0" fmla="*/ 0 w 5283200"/>
              <a:gd name="connsiteY0" fmla="*/ 0 h 9143998"/>
              <a:gd name="connsiteX1" fmla="*/ 3454400 w 5283200"/>
              <a:gd name="connsiteY1" fmla="*/ 0 h 9143998"/>
              <a:gd name="connsiteX2" fmla="*/ 3454400 w 5283200"/>
              <a:gd name="connsiteY2" fmla="*/ 914400 h 9143998"/>
              <a:gd name="connsiteX3" fmla="*/ 4368800 w 5283200"/>
              <a:gd name="connsiteY3" fmla="*/ 914400 h 9143998"/>
              <a:gd name="connsiteX4" fmla="*/ 4368800 w 5283200"/>
              <a:gd name="connsiteY4" fmla="*/ 1828800 h 9143998"/>
              <a:gd name="connsiteX5" fmla="*/ 5283200 w 5283200"/>
              <a:gd name="connsiteY5" fmla="*/ 1828800 h 9143998"/>
              <a:gd name="connsiteX6" fmla="*/ 5283200 w 5283200"/>
              <a:gd name="connsiteY6" fmla="*/ 9143998 h 9143998"/>
              <a:gd name="connsiteX7" fmla="*/ 0 w 5283200"/>
              <a:gd name="connsiteY7" fmla="*/ 9143998 h 9143998"/>
              <a:gd name="connsiteX8" fmla="*/ 0 w 5283200"/>
              <a:gd name="connsiteY8" fmla="*/ 9143403 h 9143998"/>
              <a:gd name="connsiteX9" fmla="*/ 912533 w 5283200"/>
              <a:gd name="connsiteY9" fmla="*/ 9143403 h 9143998"/>
              <a:gd name="connsiteX10" fmla="*/ 912533 w 5283200"/>
              <a:gd name="connsiteY10" fmla="*/ 8230869 h 9143998"/>
              <a:gd name="connsiteX11" fmla="*/ 0 w 5283200"/>
              <a:gd name="connsiteY11" fmla="*/ 8230869 h 9143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83200" h="9143998">
                <a:moveTo>
                  <a:pt x="0" y="0"/>
                </a:moveTo>
                <a:lnTo>
                  <a:pt x="3454400" y="0"/>
                </a:lnTo>
                <a:lnTo>
                  <a:pt x="3454400" y="914400"/>
                </a:lnTo>
                <a:lnTo>
                  <a:pt x="4368800" y="914400"/>
                </a:lnTo>
                <a:lnTo>
                  <a:pt x="4368800" y="1828800"/>
                </a:lnTo>
                <a:lnTo>
                  <a:pt x="5283200" y="1828800"/>
                </a:lnTo>
                <a:lnTo>
                  <a:pt x="5283200" y="9143998"/>
                </a:lnTo>
                <a:lnTo>
                  <a:pt x="0" y="9143998"/>
                </a:lnTo>
                <a:lnTo>
                  <a:pt x="0" y="9143403"/>
                </a:lnTo>
                <a:lnTo>
                  <a:pt x="912533" y="9143403"/>
                </a:lnTo>
                <a:lnTo>
                  <a:pt x="912533" y="8230869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4" y="697702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22106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7222AF-D59D-4EB8-BA6C-7217DC9168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79949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mage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E4A3B4F-5311-4EE8-988B-706C2D0D244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219450" cy="6858000"/>
          </a:xfrm>
          <a:custGeom>
            <a:avLst/>
            <a:gdLst>
              <a:gd name="connsiteX0" fmla="*/ 0 w 5283200"/>
              <a:gd name="connsiteY0" fmla="*/ 0 h 9144000"/>
              <a:gd name="connsiteX1" fmla="*/ 3454400 w 5283200"/>
              <a:gd name="connsiteY1" fmla="*/ 0 h 9144000"/>
              <a:gd name="connsiteX2" fmla="*/ 5283200 w 5283200"/>
              <a:gd name="connsiteY2" fmla="*/ 0 h 9144000"/>
              <a:gd name="connsiteX3" fmla="*/ 5283200 w 5283200"/>
              <a:gd name="connsiteY3" fmla="*/ 1828800 h 9144000"/>
              <a:gd name="connsiteX4" fmla="*/ 5283200 w 5283200"/>
              <a:gd name="connsiteY4" fmla="*/ 3657599 h 9144000"/>
              <a:gd name="connsiteX5" fmla="*/ 4368800 w 5283200"/>
              <a:gd name="connsiteY5" fmla="*/ 3657599 h 9144000"/>
              <a:gd name="connsiteX6" fmla="*/ 4368800 w 5283200"/>
              <a:gd name="connsiteY6" fmla="*/ 4571999 h 9144000"/>
              <a:gd name="connsiteX7" fmla="*/ 3454400 w 5283200"/>
              <a:gd name="connsiteY7" fmla="*/ 4571999 h 9144000"/>
              <a:gd name="connsiteX8" fmla="*/ 3454400 w 5283200"/>
              <a:gd name="connsiteY8" fmla="*/ 5486399 h 9144000"/>
              <a:gd name="connsiteX9" fmla="*/ 4368800 w 5283200"/>
              <a:gd name="connsiteY9" fmla="*/ 5486399 h 9144000"/>
              <a:gd name="connsiteX10" fmla="*/ 4368800 w 5283200"/>
              <a:gd name="connsiteY10" fmla="*/ 4571999 h 9144000"/>
              <a:gd name="connsiteX11" fmla="*/ 5283200 w 5283200"/>
              <a:gd name="connsiteY11" fmla="*/ 4571999 h 9144000"/>
              <a:gd name="connsiteX12" fmla="*/ 5283200 w 5283200"/>
              <a:gd name="connsiteY12" fmla="*/ 9143998 h 9144000"/>
              <a:gd name="connsiteX13" fmla="*/ 5283200 w 5283200"/>
              <a:gd name="connsiteY13" fmla="*/ 9144000 h 9144000"/>
              <a:gd name="connsiteX14" fmla="*/ 0 w 5283200"/>
              <a:gd name="connsiteY14" fmla="*/ 9144000 h 9144000"/>
              <a:gd name="connsiteX15" fmla="*/ 0 w 5283200"/>
              <a:gd name="connsiteY15" fmla="*/ 9143998 h 9144000"/>
              <a:gd name="connsiteX16" fmla="*/ 0 w 5283200"/>
              <a:gd name="connsiteY16" fmla="*/ 9143403 h 9144000"/>
              <a:gd name="connsiteX17" fmla="*/ 0 w 5283200"/>
              <a:gd name="connsiteY17" fmla="*/ 8230869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283200" h="9144000">
                <a:moveTo>
                  <a:pt x="0" y="0"/>
                </a:moveTo>
                <a:lnTo>
                  <a:pt x="3454400" y="0"/>
                </a:lnTo>
                <a:lnTo>
                  <a:pt x="5283200" y="0"/>
                </a:lnTo>
                <a:lnTo>
                  <a:pt x="5283200" y="1828800"/>
                </a:lnTo>
                <a:lnTo>
                  <a:pt x="5283200" y="3657599"/>
                </a:lnTo>
                <a:lnTo>
                  <a:pt x="4368800" y="3657599"/>
                </a:lnTo>
                <a:lnTo>
                  <a:pt x="4368800" y="4571999"/>
                </a:lnTo>
                <a:lnTo>
                  <a:pt x="3454400" y="4571999"/>
                </a:lnTo>
                <a:lnTo>
                  <a:pt x="3454400" y="5486399"/>
                </a:lnTo>
                <a:lnTo>
                  <a:pt x="4368800" y="5486399"/>
                </a:lnTo>
                <a:lnTo>
                  <a:pt x="4368800" y="4571999"/>
                </a:lnTo>
                <a:lnTo>
                  <a:pt x="5283200" y="4571999"/>
                </a:lnTo>
                <a:lnTo>
                  <a:pt x="5283200" y="9143998"/>
                </a:lnTo>
                <a:lnTo>
                  <a:pt x="5283200" y="9144000"/>
                </a:lnTo>
                <a:lnTo>
                  <a:pt x="0" y="9144000"/>
                </a:lnTo>
                <a:lnTo>
                  <a:pt x="0" y="9143998"/>
                </a:lnTo>
                <a:lnTo>
                  <a:pt x="0" y="9143403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4" y="697702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22106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0B7646-0E4D-436E-80FB-4FABC82744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084524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8">
            <a:extLst>
              <a:ext uri="{FF2B5EF4-FFF2-40B4-BE49-F238E27FC236}">
                <a16:creationId xmlns:a16="http://schemas.microsoft.com/office/drawing/2014/main" id="{C8E13DE4-5314-44E1-9E54-71B64E53C8D6}"/>
              </a:ext>
            </a:extLst>
          </p:cNvPr>
          <p:cNvSpPr/>
          <p:nvPr/>
        </p:nvSpPr>
        <p:spPr>
          <a:xfrm>
            <a:off x="3219450" y="411480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33876" y="2743201"/>
            <a:ext cx="5014913" cy="3428999"/>
          </a:xfrm>
          <a:solidFill>
            <a:schemeClr val="bg1"/>
          </a:solidFill>
        </p:spPr>
        <p:txBody>
          <a:bodyPr wrap="square" lIns="378000" tIns="39600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pic>
        <p:nvPicPr>
          <p:cNvPr id="5" name="Graphique 30">
            <a:extLst>
              <a:ext uri="{FF2B5EF4-FFF2-40B4-BE49-F238E27FC236}">
                <a16:creationId xmlns:a16="http://schemas.microsoft.com/office/drawing/2014/main" id="{E0424D29-3A81-4B93-B976-4CFAA6EE35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992156-85B6-4A34-BE33-8131FE99998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483552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38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FC103ADA-D47B-4E9B-AEDE-C787C53F5E3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37197" y="3895801"/>
            <a:ext cx="1143447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8EF4B44C-FC5F-4865-A2CA-6AD146697A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87416" y="3895801"/>
            <a:ext cx="1143447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132F59FA-5C54-4BEE-A151-61D1A5F550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47991" y="3802008"/>
            <a:ext cx="594604" cy="675798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AF6ED36D-FDAC-4123-A48A-812DD31A9EE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0086" y="3764498"/>
            <a:ext cx="609863" cy="7506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BD0662-49C5-48D6-8BC7-54C5A23568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986435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5" name="object 2">
            <a:extLst>
              <a:ext uri="{FF2B5EF4-FFF2-40B4-BE49-F238E27FC236}">
                <a16:creationId xmlns:a16="http://schemas.microsoft.com/office/drawing/2014/main" id="{31C329BC-FFDC-4CD3-ABE4-D824343B7B3C}"/>
              </a:ext>
            </a:extLst>
          </p:cNvPr>
          <p:cNvSpPr/>
          <p:nvPr/>
        </p:nvSpPr>
        <p:spPr>
          <a:xfrm>
            <a:off x="8408713" y="739971"/>
            <a:ext cx="765780" cy="69056"/>
          </a:xfrm>
          <a:custGeom>
            <a:avLst/>
            <a:gdLst/>
            <a:ahLst/>
            <a:cxnLst/>
            <a:rect l="l" t="t" r="r" b="b"/>
            <a:pathLst>
              <a:path w="1256665" h="92075">
                <a:moveTo>
                  <a:pt x="1158062" y="19088"/>
                </a:moveTo>
                <a:lnTo>
                  <a:pt x="1141564" y="19088"/>
                </a:lnTo>
                <a:lnTo>
                  <a:pt x="1164450" y="69951"/>
                </a:lnTo>
                <a:lnTo>
                  <a:pt x="1184147" y="69951"/>
                </a:lnTo>
                <a:lnTo>
                  <a:pt x="1189028" y="58381"/>
                </a:lnTo>
                <a:lnTo>
                  <a:pt x="1174737" y="58381"/>
                </a:lnTo>
                <a:lnTo>
                  <a:pt x="1158062" y="19088"/>
                </a:lnTo>
                <a:close/>
              </a:path>
              <a:path w="1256665" h="92075">
                <a:moveTo>
                  <a:pt x="1214012" y="34544"/>
                </a:moveTo>
                <a:lnTo>
                  <a:pt x="1199083" y="34544"/>
                </a:lnTo>
                <a:lnTo>
                  <a:pt x="1214005" y="69951"/>
                </a:lnTo>
                <a:lnTo>
                  <a:pt x="1233703" y="69951"/>
                </a:lnTo>
                <a:lnTo>
                  <a:pt x="1238949" y="58293"/>
                </a:lnTo>
                <a:lnTo>
                  <a:pt x="1223429" y="58293"/>
                </a:lnTo>
                <a:lnTo>
                  <a:pt x="1214012" y="34544"/>
                </a:lnTo>
                <a:close/>
              </a:path>
              <a:path w="1256665" h="92075">
                <a:moveTo>
                  <a:pt x="1207884" y="19088"/>
                </a:moveTo>
                <a:lnTo>
                  <a:pt x="1190269" y="19088"/>
                </a:lnTo>
                <a:lnTo>
                  <a:pt x="1174737" y="58381"/>
                </a:lnTo>
                <a:lnTo>
                  <a:pt x="1189028" y="58381"/>
                </a:lnTo>
                <a:lnTo>
                  <a:pt x="1199083" y="34544"/>
                </a:lnTo>
                <a:lnTo>
                  <a:pt x="1214012" y="34544"/>
                </a:lnTo>
                <a:lnTo>
                  <a:pt x="1207884" y="19088"/>
                </a:lnTo>
                <a:close/>
              </a:path>
              <a:path w="1256665" h="92075">
                <a:moveTo>
                  <a:pt x="1256588" y="19088"/>
                </a:moveTo>
                <a:lnTo>
                  <a:pt x="1240091" y="19088"/>
                </a:lnTo>
                <a:lnTo>
                  <a:pt x="1223429" y="58293"/>
                </a:lnTo>
                <a:lnTo>
                  <a:pt x="1238949" y="58293"/>
                </a:lnTo>
                <a:lnTo>
                  <a:pt x="1256588" y="19088"/>
                </a:lnTo>
                <a:close/>
              </a:path>
              <a:path w="1256665" h="92075">
                <a:moveTo>
                  <a:pt x="1104366" y="18224"/>
                </a:moveTo>
                <a:lnTo>
                  <a:pt x="1089978" y="19704"/>
                </a:lnTo>
                <a:lnTo>
                  <a:pt x="1078855" y="24364"/>
                </a:lnTo>
                <a:lnTo>
                  <a:pt x="1071680" y="32540"/>
                </a:lnTo>
                <a:lnTo>
                  <a:pt x="1069136" y="44564"/>
                </a:lnTo>
                <a:lnTo>
                  <a:pt x="1071680" y="56531"/>
                </a:lnTo>
                <a:lnTo>
                  <a:pt x="1078855" y="64681"/>
                </a:lnTo>
                <a:lnTo>
                  <a:pt x="1089978" y="69335"/>
                </a:lnTo>
                <a:lnTo>
                  <a:pt x="1104366" y="70815"/>
                </a:lnTo>
                <a:lnTo>
                  <a:pt x="1118724" y="69335"/>
                </a:lnTo>
                <a:lnTo>
                  <a:pt x="1129855" y="64681"/>
                </a:lnTo>
                <a:lnTo>
                  <a:pt x="1135351" y="58458"/>
                </a:lnTo>
                <a:lnTo>
                  <a:pt x="1090637" y="58458"/>
                </a:lnTo>
                <a:lnTo>
                  <a:pt x="1083906" y="55092"/>
                </a:lnTo>
                <a:lnTo>
                  <a:pt x="1083906" y="33934"/>
                </a:lnTo>
                <a:lnTo>
                  <a:pt x="1090637" y="30568"/>
                </a:lnTo>
                <a:lnTo>
                  <a:pt x="1135317" y="30568"/>
                </a:lnTo>
                <a:lnTo>
                  <a:pt x="1129855" y="24364"/>
                </a:lnTo>
                <a:lnTo>
                  <a:pt x="1118724" y="19704"/>
                </a:lnTo>
                <a:lnTo>
                  <a:pt x="1104366" y="18224"/>
                </a:lnTo>
                <a:close/>
              </a:path>
              <a:path w="1256665" h="92075">
                <a:moveTo>
                  <a:pt x="1135317" y="30568"/>
                </a:moveTo>
                <a:lnTo>
                  <a:pt x="1118019" y="30568"/>
                </a:lnTo>
                <a:lnTo>
                  <a:pt x="1124750" y="33934"/>
                </a:lnTo>
                <a:lnTo>
                  <a:pt x="1124750" y="55092"/>
                </a:lnTo>
                <a:lnTo>
                  <a:pt x="1118019" y="58458"/>
                </a:lnTo>
                <a:lnTo>
                  <a:pt x="1135351" y="58458"/>
                </a:lnTo>
                <a:lnTo>
                  <a:pt x="1137052" y="56531"/>
                </a:lnTo>
                <a:lnTo>
                  <a:pt x="1139609" y="44564"/>
                </a:lnTo>
                <a:lnTo>
                  <a:pt x="1137052" y="32540"/>
                </a:lnTo>
                <a:lnTo>
                  <a:pt x="1135317" y="30568"/>
                </a:lnTo>
                <a:close/>
              </a:path>
              <a:path w="1256665" h="92075">
                <a:moveTo>
                  <a:pt x="1058354" y="863"/>
                </a:moveTo>
                <a:lnTo>
                  <a:pt x="1043584" y="863"/>
                </a:lnTo>
                <a:lnTo>
                  <a:pt x="1043584" y="69951"/>
                </a:lnTo>
                <a:lnTo>
                  <a:pt x="1058354" y="69951"/>
                </a:lnTo>
                <a:lnTo>
                  <a:pt x="1058354" y="863"/>
                </a:lnTo>
                <a:close/>
              </a:path>
              <a:path w="1256665" h="92075">
                <a:moveTo>
                  <a:pt x="1011313" y="31432"/>
                </a:moveTo>
                <a:lnTo>
                  <a:pt x="996467" y="31432"/>
                </a:lnTo>
                <a:lnTo>
                  <a:pt x="996467" y="69951"/>
                </a:lnTo>
                <a:lnTo>
                  <a:pt x="1011313" y="69951"/>
                </a:lnTo>
                <a:lnTo>
                  <a:pt x="1011313" y="31432"/>
                </a:lnTo>
                <a:close/>
              </a:path>
              <a:path w="1256665" h="92075">
                <a:moveTo>
                  <a:pt x="1032814" y="19088"/>
                </a:moveTo>
                <a:lnTo>
                  <a:pt x="983081" y="19088"/>
                </a:lnTo>
                <a:lnTo>
                  <a:pt x="983081" y="31432"/>
                </a:lnTo>
                <a:lnTo>
                  <a:pt x="1032814" y="31432"/>
                </a:lnTo>
                <a:lnTo>
                  <a:pt x="1032814" y="19088"/>
                </a:lnTo>
                <a:close/>
              </a:path>
              <a:path w="1256665" h="92075">
                <a:moveTo>
                  <a:pt x="1025296" y="0"/>
                </a:moveTo>
                <a:lnTo>
                  <a:pt x="1017523" y="0"/>
                </a:lnTo>
                <a:lnTo>
                  <a:pt x="1007970" y="931"/>
                </a:lnTo>
                <a:lnTo>
                  <a:pt x="1001428" y="3759"/>
                </a:lnTo>
                <a:lnTo>
                  <a:pt x="997669" y="8529"/>
                </a:lnTo>
                <a:lnTo>
                  <a:pt x="996467" y="15290"/>
                </a:lnTo>
                <a:lnTo>
                  <a:pt x="996467" y="19088"/>
                </a:lnTo>
                <a:lnTo>
                  <a:pt x="1011313" y="19088"/>
                </a:lnTo>
                <a:lnTo>
                  <a:pt x="1011567" y="12700"/>
                </a:lnTo>
                <a:lnTo>
                  <a:pt x="1013726" y="10883"/>
                </a:lnTo>
                <a:lnTo>
                  <a:pt x="1032814" y="10883"/>
                </a:lnTo>
                <a:lnTo>
                  <a:pt x="1032814" y="863"/>
                </a:lnTo>
                <a:lnTo>
                  <a:pt x="1025296" y="0"/>
                </a:lnTo>
                <a:close/>
              </a:path>
              <a:path w="1256665" h="92075">
                <a:moveTo>
                  <a:pt x="1032814" y="10883"/>
                </a:moveTo>
                <a:lnTo>
                  <a:pt x="1025994" y="10883"/>
                </a:lnTo>
                <a:lnTo>
                  <a:pt x="1029449" y="11061"/>
                </a:lnTo>
                <a:lnTo>
                  <a:pt x="1032814" y="11315"/>
                </a:lnTo>
                <a:lnTo>
                  <a:pt x="1032814" y="10883"/>
                </a:lnTo>
                <a:close/>
              </a:path>
              <a:path w="1256665" h="92075">
                <a:moveTo>
                  <a:pt x="926706" y="863"/>
                </a:moveTo>
                <a:lnTo>
                  <a:pt x="911936" y="863"/>
                </a:lnTo>
                <a:lnTo>
                  <a:pt x="911936" y="69951"/>
                </a:lnTo>
                <a:lnTo>
                  <a:pt x="926706" y="69951"/>
                </a:lnTo>
                <a:lnTo>
                  <a:pt x="926706" y="863"/>
                </a:lnTo>
                <a:close/>
              </a:path>
              <a:path w="1256665" h="92075">
                <a:moveTo>
                  <a:pt x="870343" y="37401"/>
                </a:moveTo>
                <a:lnTo>
                  <a:pt x="861631" y="37401"/>
                </a:lnTo>
                <a:lnTo>
                  <a:pt x="850026" y="38252"/>
                </a:lnTo>
                <a:lnTo>
                  <a:pt x="840244" y="41117"/>
                </a:lnTo>
                <a:lnTo>
                  <a:pt x="833492" y="46461"/>
                </a:lnTo>
                <a:lnTo>
                  <a:pt x="830973" y="54749"/>
                </a:lnTo>
                <a:lnTo>
                  <a:pt x="832585" y="62103"/>
                </a:lnTo>
                <a:lnTo>
                  <a:pt x="837199" y="67087"/>
                </a:lnTo>
                <a:lnTo>
                  <a:pt x="844486" y="69919"/>
                </a:lnTo>
                <a:lnTo>
                  <a:pt x="854113" y="70815"/>
                </a:lnTo>
                <a:lnTo>
                  <a:pt x="862743" y="70313"/>
                </a:lnTo>
                <a:lnTo>
                  <a:pt x="870702" y="68880"/>
                </a:lnTo>
                <a:lnTo>
                  <a:pt x="878094" y="66620"/>
                </a:lnTo>
                <a:lnTo>
                  <a:pt x="885024" y="63639"/>
                </a:lnTo>
                <a:lnTo>
                  <a:pt x="899871" y="63639"/>
                </a:lnTo>
                <a:lnTo>
                  <a:pt x="899871" y="59931"/>
                </a:lnTo>
                <a:lnTo>
                  <a:pt x="850658" y="59931"/>
                </a:lnTo>
                <a:lnTo>
                  <a:pt x="845731" y="59499"/>
                </a:lnTo>
                <a:lnTo>
                  <a:pt x="845731" y="48971"/>
                </a:lnTo>
                <a:lnTo>
                  <a:pt x="852385" y="47066"/>
                </a:lnTo>
                <a:lnTo>
                  <a:pt x="899871" y="47066"/>
                </a:lnTo>
                <a:lnTo>
                  <a:pt x="899871" y="44297"/>
                </a:lnTo>
                <a:lnTo>
                  <a:pt x="899248" y="41021"/>
                </a:lnTo>
                <a:lnTo>
                  <a:pt x="885024" y="41021"/>
                </a:lnTo>
                <a:lnTo>
                  <a:pt x="878382" y="38773"/>
                </a:lnTo>
                <a:lnTo>
                  <a:pt x="870343" y="37401"/>
                </a:lnTo>
                <a:close/>
              </a:path>
              <a:path w="1256665" h="92075">
                <a:moveTo>
                  <a:pt x="899871" y="63639"/>
                </a:moveTo>
                <a:lnTo>
                  <a:pt x="885024" y="63639"/>
                </a:lnTo>
                <a:lnTo>
                  <a:pt x="885024" y="69951"/>
                </a:lnTo>
                <a:lnTo>
                  <a:pt x="899871" y="69951"/>
                </a:lnTo>
                <a:lnTo>
                  <a:pt x="899871" y="63639"/>
                </a:lnTo>
                <a:close/>
              </a:path>
              <a:path w="1256665" h="92075">
                <a:moveTo>
                  <a:pt x="899871" y="47066"/>
                </a:moveTo>
                <a:lnTo>
                  <a:pt x="872858" y="47066"/>
                </a:lnTo>
                <a:lnTo>
                  <a:pt x="879843" y="48526"/>
                </a:lnTo>
                <a:lnTo>
                  <a:pt x="885024" y="50177"/>
                </a:lnTo>
                <a:lnTo>
                  <a:pt x="885024" y="54152"/>
                </a:lnTo>
                <a:lnTo>
                  <a:pt x="878782" y="56432"/>
                </a:lnTo>
                <a:lnTo>
                  <a:pt x="871850" y="58266"/>
                </a:lnTo>
                <a:lnTo>
                  <a:pt x="864834" y="59487"/>
                </a:lnTo>
                <a:lnTo>
                  <a:pt x="858342" y="59931"/>
                </a:lnTo>
                <a:lnTo>
                  <a:pt x="899871" y="59931"/>
                </a:lnTo>
                <a:lnTo>
                  <a:pt x="899871" y="47066"/>
                </a:lnTo>
                <a:close/>
              </a:path>
              <a:path w="1256665" h="92075">
                <a:moveTo>
                  <a:pt x="896313" y="30568"/>
                </a:moveTo>
                <a:lnTo>
                  <a:pt x="872591" y="30568"/>
                </a:lnTo>
                <a:lnTo>
                  <a:pt x="885024" y="31356"/>
                </a:lnTo>
                <a:lnTo>
                  <a:pt x="885024" y="41021"/>
                </a:lnTo>
                <a:lnTo>
                  <a:pt x="899248" y="41021"/>
                </a:lnTo>
                <a:lnTo>
                  <a:pt x="897554" y="32101"/>
                </a:lnTo>
                <a:lnTo>
                  <a:pt x="896313" y="30568"/>
                </a:lnTo>
                <a:close/>
              </a:path>
              <a:path w="1256665" h="92075">
                <a:moveTo>
                  <a:pt x="866381" y="18224"/>
                </a:moveTo>
                <a:lnTo>
                  <a:pt x="858482" y="18572"/>
                </a:lnTo>
                <a:lnTo>
                  <a:pt x="850692" y="19592"/>
                </a:lnTo>
                <a:lnTo>
                  <a:pt x="842951" y="21246"/>
                </a:lnTo>
                <a:lnTo>
                  <a:pt x="835202" y="23495"/>
                </a:lnTo>
                <a:lnTo>
                  <a:pt x="840473" y="34277"/>
                </a:lnTo>
                <a:lnTo>
                  <a:pt x="847882" y="32390"/>
                </a:lnTo>
                <a:lnTo>
                  <a:pt x="854502" y="31261"/>
                </a:lnTo>
                <a:lnTo>
                  <a:pt x="860409" y="30712"/>
                </a:lnTo>
                <a:lnTo>
                  <a:pt x="865682" y="30568"/>
                </a:lnTo>
                <a:lnTo>
                  <a:pt x="896313" y="30568"/>
                </a:lnTo>
                <a:lnTo>
                  <a:pt x="891027" y="24041"/>
                </a:lnTo>
                <a:lnTo>
                  <a:pt x="880549" y="19590"/>
                </a:lnTo>
                <a:lnTo>
                  <a:pt x="866381" y="18224"/>
                </a:lnTo>
                <a:close/>
              </a:path>
              <a:path w="1256665" h="92075">
                <a:moveTo>
                  <a:pt x="796963" y="31432"/>
                </a:moveTo>
                <a:lnTo>
                  <a:pt x="782116" y="31432"/>
                </a:lnTo>
                <a:lnTo>
                  <a:pt x="782116" y="54673"/>
                </a:lnTo>
                <a:lnTo>
                  <a:pt x="783645" y="61926"/>
                </a:lnTo>
                <a:lnTo>
                  <a:pt x="787992" y="66949"/>
                </a:lnTo>
                <a:lnTo>
                  <a:pt x="794798" y="69870"/>
                </a:lnTo>
                <a:lnTo>
                  <a:pt x="803706" y="70815"/>
                </a:lnTo>
                <a:lnTo>
                  <a:pt x="810526" y="70815"/>
                </a:lnTo>
                <a:lnTo>
                  <a:pt x="816140" y="70383"/>
                </a:lnTo>
                <a:lnTo>
                  <a:pt x="821054" y="69507"/>
                </a:lnTo>
                <a:lnTo>
                  <a:pt x="821054" y="58458"/>
                </a:lnTo>
                <a:lnTo>
                  <a:pt x="798868" y="58458"/>
                </a:lnTo>
                <a:lnTo>
                  <a:pt x="796963" y="55956"/>
                </a:lnTo>
                <a:lnTo>
                  <a:pt x="796963" y="31432"/>
                </a:lnTo>
                <a:close/>
              </a:path>
              <a:path w="1256665" h="92075">
                <a:moveTo>
                  <a:pt x="821054" y="57607"/>
                </a:moveTo>
                <a:lnTo>
                  <a:pt x="815098" y="58458"/>
                </a:lnTo>
                <a:lnTo>
                  <a:pt x="821054" y="58458"/>
                </a:lnTo>
                <a:lnTo>
                  <a:pt x="821054" y="57607"/>
                </a:lnTo>
                <a:close/>
              </a:path>
              <a:path w="1256665" h="92075">
                <a:moveTo>
                  <a:pt x="821054" y="19088"/>
                </a:moveTo>
                <a:lnTo>
                  <a:pt x="768730" y="19088"/>
                </a:lnTo>
                <a:lnTo>
                  <a:pt x="768730" y="31432"/>
                </a:lnTo>
                <a:lnTo>
                  <a:pt x="821054" y="31432"/>
                </a:lnTo>
                <a:lnTo>
                  <a:pt x="821054" y="19088"/>
                </a:lnTo>
                <a:close/>
              </a:path>
              <a:path w="1256665" h="92075">
                <a:moveTo>
                  <a:pt x="796963" y="4318"/>
                </a:moveTo>
                <a:lnTo>
                  <a:pt x="782116" y="8547"/>
                </a:lnTo>
                <a:lnTo>
                  <a:pt x="782116" y="19088"/>
                </a:lnTo>
                <a:lnTo>
                  <a:pt x="796963" y="19088"/>
                </a:lnTo>
                <a:lnTo>
                  <a:pt x="796963" y="4318"/>
                </a:lnTo>
                <a:close/>
              </a:path>
              <a:path w="1256665" h="92075">
                <a:moveTo>
                  <a:pt x="758456" y="19088"/>
                </a:moveTo>
                <a:lnTo>
                  <a:pt x="743699" y="19088"/>
                </a:lnTo>
                <a:lnTo>
                  <a:pt x="743699" y="69951"/>
                </a:lnTo>
                <a:lnTo>
                  <a:pt x="758456" y="69951"/>
                </a:lnTo>
                <a:lnTo>
                  <a:pt x="758456" y="19088"/>
                </a:lnTo>
                <a:close/>
              </a:path>
              <a:path w="1256665" h="92075">
                <a:moveTo>
                  <a:pt x="758456" y="863"/>
                </a:moveTo>
                <a:lnTo>
                  <a:pt x="743699" y="863"/>
                </a:lnTo>
                <a:lnTo>
                  <a:pt x="743699" y="13728"/>
                </a:lnTo>
                <a:lnTo>
                  <a:pt x="758456" y="13728"/>
                </a:lnTo>
                <a:lnTo>
                  <a:pt x="758456" y="863"/>
                </a:lnTo>
                <a:close/>
              </a:path>
              <a:path w="1256665" h="92075">
                <a:moveTo>
                  <a:pt x="666610" y="75565"/>
                </a:moveTo>
                <a:lnTo>
                  <a:pt x="666610" y="87477"/>
                </a:lnTo>
                <a:lnTo>
                  <a:pt x="671585" y="88657"/>
                </a:lnTo>
                <a:lnTo>
                  <a:pt x="678845" y="89989"/>
                </a:lnTo>
                <a:lnTo>
                  <a:pt x="687950" y="91078"/>
                </a:lnTo>
                <a:lnTo>
                  <a:pt x="698461" y="91528"/>
                </a:lnTo>
                <a:lnTo>
                  <a:pt x="711770" y="89802"/>
                </a:lnTo>
                <a:lnTo>
                  <a:pt x="722266" y="84448"/>
                </a:lnTo>
                <a:lnTo>
                  <a:pt x="726188" y="79184"/>
                </a:lnTo>
                <a:lnTo>
                  <a:pt x="695185" y="79184"/>
                </a:lnTo>
                <a:lnTo>
                  <a:pt x="686821" y="78776"/>
                </a:lnTo>
                <a:lnTo>
                  <a:pt x="678921" y="77793"/>
                </a:lnTo>
                <a:lnTo>
                  <a:pt x="672009" y="76602"/>
                </a:lnTo>
                <a:lnTo>
                  <a:pt x="666610" y="75565"/>
                </a:lnTo>
                <a:close/>
              </a:path>
              <a:path w="1256665" h="92075">
                <a:moveTo>
                  <a:pt x="731621" y="60274"/>
                </a:moveTo>
                <a:lnTo>
                  <a:pt x="716775" y="60274"/>
                </a:lnTo>
                <a:lnTo>
                  <a:pt x="715294" y="68731"/>
                </a:lnTo>
                <a:lnTo>
                  <a:pt x="711485" y="74620"/>
                </a:lnTo>
                <a:lnTo>
                  <a:pt x="704923" y="78063"/>
                </a:lnTo>
                <a:lnTo>
                  <a:pt x="695185" y="79184"/>
                </a:lnTo>
                <a:lnTo>
                  <a:pt x="726188" y="79184"/>
                </a:lnTo>
                <a:lnTo>
                  <a:pt x="729149" y="75209"/>
                </a:lnTo>
                <a:lnTo>
                  <a:pt x="731621" y="61823"/>
                </a:lnTo>
                <a:lnTo>
                  <a:pt x="731621" y="60274"/>
                </a:lnTo>
                <a:close/>
              </a:path>
              <a:path w="1256665" h="92075">
                <a:moveTo>
                  <a:pt x="691045" y="18224"/>
                </a:moveTo>
                <a:lnTo>
                  <a:pt x="679021" y="19691"/>
                </a:lnTo>
                <a:lnTo>
                  <a:pt x="669570" y="24268"/>
                </a:lnTo>
                <a:lnTo>
                  <a:pt x="663389" y="32213"/>
                </a:lnTo>
                <a:lnTo>
                  <a:pt x="661174" y="43789"/>
                </a:lnTo>
                <a:lnTo>
                  <a:pt x="663389" y="55352"/>
                </a:lnTo>
                <a:lnTo>
                  <a:pt x="669570" y="63295"/>
                </a:lnTo>
                <a:lnTo>
                  <a:pt x="679021" y="67872"/>
                </a:lnTo>
                <a:lnTo>
                  <a:pt x="691045" y="69342"/>
                </a:lnTo>
                <a:lnTo>
                  <a:pt x="699399" y="68727"/>
                </a:lnTo>
                <a:lnTo>
                  <a:pt x="706467" y="66946"/>
                </a:lnTo>
                <a:lnTo>
                  <a:pt x="712256" y="64096"/>
                </a:lnTo>
                <a:lnTo>
                  <a:pt x="716775" y="60274"/>
                </a:lnTo>
                <a:lnTo>
                  <a:pt x="731621" y="60274"/>
                </a:lnTo>
                <a:lnTo>
                  <a:pt x="731621" y="56997"/>
                </a:lnTo>
                <a:lnTo>
                  <a:pt x="682497" y="56997"/>
                </a:lnTo>
                <a:lnTo>
                  <a:pt x="675932" y="53111"/>
                </a:lnTo>
                <a:lnTo>
                  <a:pt x="675932" y="34467"/>
                </a:lnTo>
                <a:lnTo>
                  <a:pt x="682497" y="30568"/>
                </a:lnTo>
                <a:lnTo>
                  <a:pt x="731621" y="30568"/>
                </a:lnTo>
                <a:lnTo>
                  <a:pt x="731621" y="27292"/>
                </a:lnTo>
                <a:lnTo>
                  <a:pt x="716775" y="27292"/>
                </a:lnTo>
                <a:lnTo>
                  <a:pt x="712306" y="23475"/>
                </a:lnTo>
                <a:lnTo>
                  <a:pt x="706534" y="20624"/>
                </a:lnTo>
                <a:lnTo>
                  <a:pt x="699449" y="18841"/>
                </a:lnTo>
                <a:lnTo>
                  <a:pt x="691045" y="18224"/>
                </a:lnTo>
                <a:close/>
              </a:path>
              <a:path w="1256665" h="92075">
                <a:moveTo>
                  <a:pt x="731621" y="30568"/>
                </a:moveTo>
                <a:lnTo>
                  <a:pt x="710298" y="30568"/>
                </a:lnTo>
                <a:lnTo>
                  <a:pt x="716775" y="34467"/>
                </a:lnTo>
                <a:lnTo>
                  <a:pt x="716775" y="53111"/>
                </a:lnTo>
                <a:lnTo>
                  <a:pt x="710298" y="56997"/>
                </a:lnTo>
                <a:lnTo>
                  <a:pt x="731621" y="56997"/>
                </a:lnTo>
                <a:lnTo>
                  <a:pt x="731621" y="30568"/>
                </a:lnTo>
                <a:close/>
              </a:path>
              <a:path w="1256665" h="92075">
                <a:moveTo>
                  <a:pt x="731621" y="19088"/>
                </a:moveTo>
                <a:lnTo>
                  <a:pt x="716775" y="19088"/>
                </a:lnTo>
                <a:lnTo>
                  <a:pt x="716775" y="27292"/>
                </a:lnTo>
                <a:lnTo>
                  <a:pt x="731621" y="27292"/>
                </a:lnTo>
                <a:lnTo>
                  <a:pt x="731621" y="19088"/>
                </a:lnTo>
                <a:close/>
              </a:path>
              <a:path w="1256665" h="92075">
                <a:moveTo>
                  <a:pt x="650379" y="19088"/>
                </a:moveTo>
                <a:lnTo>
                  <a:pt x="635609" y="19088"/>
                </a:lnTo>
                <a:lnTo>
                  <a:pt x="635609" y="69951"/>
                </a:lnTo>
                <a:lnTo>
                  <a:pt x="650379" y="69951"/>
                </a:lnTo>
                <a:lnTo>
                  <a:pt x="650379" y="19088"/>
                </a:lnTo>
                <a:close/>
              </a:path>
              <a:path w="1256665" h="92075">
                <a:moveTo>
                  <a:pt x="650379" y="863"/>
                </a:moveTo>
                <a:lnTo>
                  <a:pt x="635609" y="863"/>
                </a:lnTo>
                <a:lnTo>
                  <a:pt x="635609" y="13728"/>
                </a:lnTo>
                <a:lnTo>
                  <a:pt x="650379" y="13728"/>
                </a:lnTo>
                <a:lnTo>
                  <a:pt x="650379" y="863"/>
                </a:lnTo>
                <a:close/>
              </a:path>
              <a:path w="1256665" h="92075">
                <a:moveTo>
                  <a:pt x="583387" y="18224"/>
                </a:moveTo>
                <a:lnTo>
                  <a:pt x="571773" y="19607"/>
                </a:lnTo>
                <a:lnTo>
                  <a:pt x="562121" y="24107"/>
                </a:lnTo>
                <a:lnTo>
                  <a:pt x="555526" y="32251"/>
                </a:lnTo>
                <a:lnTo>
                  <a:pt x="553084" y="44564"/>
                </a:lnTo>
                <a:lnTo>
                  <a:pt x="555526" y="56863"/>
                </a:lnTo>
                <a:lnTo>
                  <a:pt x="562121" y="64976"/>
                </a:lnTo>
                <a:lnTo>
                  <a:pt x="571773" y="69445"/>
                </a:lnTo>
                <a:lnTo>
                  <a:pt x="583387" y="70815"/>
                </a:lnTo>
                <a:lnTo>
                  <a:pt x="591206" y="70252"/>
                </a:lnTo>
                <a:lnTo>
                  <a:pt x="598125" y="68580"/>
                </a:lnTo>
                <a:lnTo>
                  <a:pt x="604025" y="65821"/>
                </a:lnTo>
                <a:lnTo>
                  <a:pt x="608787" y="62001"/>
                </a:lnTo>
                <a:lnTo>
                  <a:pt x="623544" y="62001"/>
                </a:lnTo>
                <a:lnTo>
                  <a:pt x="623544" y="58458"/>
                </a:lnTo>
                <a:lnTo>
                  <a:pt x="575106" y="58458"/>
                </a:lnTo>
                <a:lnTo>
                  <a:pt x="567943" y="54571"/>
                </a:lnTo>
                <a:lnTo>
                  <a:pt x="567943" y="34467"/>
                </a:lnTo>
                <a:lnTo>
                  <a:pt x="575106" y="30568"/>
                </a:lnTo>
                <a:lnTo>
                  <a:pt x="623544" y="30568"/>
                </a:lnTo>
                <a:lnTo>
                  <a:pt x="623544" y="27025"/>
                </a:lnTo>
                <a:lnTo>
                  <a:pt x="608787" y="27025"/>
                </a:lnTo>
                <a:lnTo>
                  <a:pt x="604025" y="23212"/>
                </a:lnTo>
                <a:lnTo>
                  <a:pt x="598125" y="20458"/>
                </a:lnTo>
                <a:lnTo>
                  <a:pt x="591206" y="18787"/>
                </a:lnTo>
                <a:lnTo>
                  <a:pt x="583387" y="18224"/>
                </a:lnTo>
                <a:close/>
              </a:path>
              <a:path w="1256665" h="92075">
                <a:moveTo>
                  <a:pt x="623544" y="62001"/>
                </a:moveTo>
                <a:lnTo>
                  <a:pt x="608787" y="62001"/>
                </a:lnTo>
                <a:lnTo>
                  <a:pt x="608787" y="69951"/>
                </a:lnTo>
                <a:lnTo>
                  <a:pt x="623544" y="69951"/>
                </a:lnTo>
                <a:lnTo>
                  <a:pt x="623544" y="62001"/>
                </a:lnTo>
                <a:close/>
              </a:path>
              <a:path w="1256665" h="92075">
                <a:moveTo>
                  <a:pt x="623544" y="30568"/>
                </a:moveTo>
                <a:lnTo>
                  <a:pt x="601522" y="30568"/>
                </a:lnTo>
                <a:lnTo>
                  <a:pt x="608787" y="34467"/>
                </a:lnTo>
                <a:lnTo>
                  <a:pt x="608787" y="54571"/>
                </a:lnTo>
                <a:lnTo>
                  <a:pt x="601522" y="58458"/>
                </a:lnTo>
                <a:lnTo>
                  <a:pt x="623544" y="58458"/>
                </a:lnTo>
                <a:lnTo>
                  <a:pt x="623544" y="30568"/>
                </a:lnTo>
                <a:close/>
              </a:path>
              <a:path w="1256665" h="92075">
                <a:moveTo>
                  <a:pt x="623544" y="863"/>
                </a:moveTo>
                <a:lnTo>
                  <a:pt x="608787" y="863"/>
                </a:lnTo>
                <a:lnTo>
                  <a:pt x="608787" y="27025"/>
                </a:lnTo>
                <a:lnTo>
                  <a:pt x="623544" y="27025"/>
                </a:lnTo>
                <a:lnTo>
                  <a:pt x="623544" y="863"/>
                </a:lnTo>
                <a:close/>
              </a:path>
              <a:path w="1256665" h="92075">
                <a:moveTo>
                  <a:pt x="462800" y="18224"/>
                </a:moveTo>
                <a:lnTo>
                  <a:pt x="448589" y="19704"/>
                </a:lnTo>
                <a:lnTo>
                  <a:pt x="437446" y="24364"/>
                </a:lnTo>
                <a:lnTo>
                  <a:pt x="430173" y="32540"/>
                </a:lnTo>
                <a:lnTo>
                  <a:pt x="427570" y="44564"/>
                </a:lnTo>
                <a:lnTo>
                  <a:pt x="430220" y="56531"/>
                </a:lnTo>
                <a:lnTo>
                  <a:pt x="437500" y="64681"/>
                </a:lnTo>
                <a:lnTo>
                  <a:pt x="448407" y="69335"/>
                </a:lnTo>
                <a:lnTo>
                  <a:pt x="461937" y="70815"/>
                </a:lnTo>
                <a:lnTo>
                  <a:pt x="474841" y="69652"/>
                </a:lnTo>
                <a:lnTo>
                  <a:pt x="485132" y="66124"/>
                </a:lnTo>
                <a:lnTo>
                  <a:pt x="492524" y="60169"/>
                </a:lnTo>
                <a:lnTo>
                  <a:pt x="493200" y="58813"/>
                </a:lnTo>
                <a:lnTo>
                  <a:pt x="452094" y="58813"/>
                </a:lnTo>
                <a:lnTo>
                  <a:pt x="444322" y="56134"/>
                </a:lnTo>
                <a:lnTo>
                  <a:pt x="442683" y="48006"/>
                </a:lnTo>
                <a:lnTo>
                  <a:pt x="497585" y="48006"/>
                </a:lnTo>
                <a:lnTo>
                  <a:pt x="495815" y="38608"/>
                </a:lnTo>
                <a:lnTo>
                  <a:pt x="443191" y="38608"/>
                </a:lnTo>
                <a:lnTo>
                  <a:pt x="445528" y="31432"/>
                </a:lnTo>
                <a:lnTo>
                  <a:pt x="452615" y="29451"/>
                </a:lnTo>
                <a:lnTo>
                  <a:pt x="491513" y="29451"/>
                </a:lnTo>
                <a:lnTo>
                  <a:pt x="487446" y="24437"/>
                </a:lnTo>
                <a:lnTo>
                  <a:pt x="476395" y="19623"/>
                </a:lnTo>
                <a:lnTo>
                  <a:pt x="462800" y="18224"/>
                </a:lnTo>
                <a:close/>
              </a:path>
              <a:path w="1256665" h="92075">
                <a:moveTo>
                  <a:pt x="496735" y="51727"/>
                </a:moveTo>
                <a:lnTo>
                  <a:pt x="482053" y="51727"/>
                </a:lnTo>
                <a:lnTo>
                  <a:pt x="478345" y="56908"/>
                </a:lnTo>
                <a:lnTo>
                  <a:pt x="472122" y="58813"/>
                </a:lnTo>
                <a:lnTo>
                  <a:pt x="493200" y="58813"/>
                </a:lnTo>
                <a:lnTo>
                  <a:pt x="496735" y="51727"/>
                </a:lnTo>
                <a:close/>
              </a:path>
              <a:path w="1256665" h="92075">
                <a:moveTo>
                  <a:pt x="491513" y="29451"/>
                </a:moveTo>
                <a:lnTo>
                  <a:pt x="472046" y="29451"/>
                </a:lnTo>
                <a:lnTo>
                  <a:pt x="479297" y="31432"/>
                </a:lnTo>
                <a:lnTo>
                  <a:pt x="481787" y="38608"/>
                </a:lnTo>
                <a:lnTo>
                  <a:pt x="495815" y="38608"/>
                </a:lnTo>
                <a:lnTo>
                  <a:pt x="494870" y="33590"/>
                </a:lnTo>
                <a:lnTo>
                  <a:pt x="491513" y="29451"/>
                </a:lnTo>
                <a:close/>
              </a:path>
              <a:path w="1256665" h="92075">
                <a:moveTo>
                  <a:pt x="368858" y="19088"/>
                </a:moveTo>
                <a:lnTo>
                  <a:pt x="352463" y="19088"/>
                </a:lnTo>
                <a:lnTo>
                  <a:pt x="378193" y="69951"/>
                </a:lnTo>
                <a:lnTo>
                  <a:pt x="399262" y="69951"/>
                </a:lnTo>
                <a:lnTo>
                  <a:pt x="404565" y="59499"/>
                </a:lnTo>
                <a:lnTo>
                  <a:pt x="388810" y="59499"/>
                </a:lnTo>
                <a:lnTo>
                  <a:pt x="368858" y="19088"/>
                </a:lnTo>
                <a:close/>
              </a:path>
              <a:path w="1256665" h="92075">
                <a:moveTo>
                  <a:pt x="425068" y="19088"/>
                </a:moveTo>
                <a:lnTo>
                  <a:pt x="408673" y="19088"/>
                </a:lnTo>
                <a:lnTo>
                  <a:pt x="388810" y="59499"/>
                </a:lnTo>
                <a:lnTo>
                  <a:pt x="404565" y="59499"/>
                </a:lnTo>
                <a:lnTo>
                  <a:pt x="425068" y="19088"/>
                </a:lnTo>
                <a:close/>
              </a:path>
              <a:path w="1256665" h="92075">
                <a:moveTo>
                  <a:pt x="343052" y="19088"/>
                </a:moveTo>
                <a:lnTo>
                  <a:pt x="328282" y="19088"/>
                </a:lnTo>
                <a:lnTo>
                  <a:pt x="328282" y="69951"/>
                </a:lnTo>
                <a:lnTo>
                  <a:pt x="343052" y="69951"/>
                </a:lnTo>
                <a:lnTo>
                  <a:pt x="343052" y="19088"/>
                </a:lnTo>
                <a:close/>
              </a:path>
              <a:path w="1256665" h="92075">
                <a:moveTo>
                  <a:pt x="343052" y="863"/>
                </a:moveTo>
                <a:lnTo>
                  <a:pt x="328282" y="863"/>
                </a:lnTo>
                <a:lnTo>
                  <a:pt x="328282" y="13728"/>
                </a:lnTo>
                <a:lnTo>
                  <a:pt x="343052" y="13728"/>
                </a:lnTo>
                <a:lnTo>
                  <a:pt x="343052" y="863"/>
                </a:lnTo>
                <a:close/>
              </a:path>
              <a:path w="1256665" h="92075">
                <a:moveTo>
                  <a:pt x="293001" y="31432"/>
                </a:moveTo>
                <a:lnTo>
                  <a:pt x="278142" y="31432"/>
                </a:lnTo>
                <a:lnTo>
                  <a:pt x="278142" y="54673"/>
                </a:lnTo>
                <a:lnTo>
                  <a:pt x="279669" y="61926"/>
                </a:lnTo>
                <a:lnTo>
                  <a:pt x="284013" y="66949"/>
                </a:lnTo>
                <a:lnTo>
                  <a:pt x="290819" y="69870"/>
                </a:lnTo>
                <a:lnTo>
                  <a:pt x="299732" y="70815"/>
                </a:lnTo>
                <a:lnTo>
                  <a:pt x="306552" y="70815"/>
                </a:lnTo>
                <a:lnTo>
                  <a:pt x="312165" y="70383"/>
                </a:lnTo>
                <a:lnTo>
                  <a:pt x="317093" y="69507"/>
                </a:lnTo>
                <a:lnTo>
                  <a:pt x="317093" y="58458"/>
                </a:lnTo>
                <a:lnTo>
                  <a:pt x="294906" y="58458"/>
                </a:lnTo>
                <a:lnTo>
                  <a:pt x="293001" y="55956"/>
                </a:lnTo>
                <a:lnTo>
                  <a:pt x="293001" y="31432"/>
                </a:lnTo>
                <a:close/>
              </a:path>
              <a:path w="1256665" h="92075">
                <a:moveTo>
                  <a:pt x="317093" y="57607"/>
                </a:moveTo>
                <a:lnTo>
                  <a:pt x="311124" y="58458"/>
                </a:lnTo>
                <a:lnTo>
                  <a:pt x="317093" y="58458"/>
                </a:lnTo>
                <a:lnTo>
                  <a:pt x="317093" y="57607"/>
                </a:lnTo>
                <a:close/>
              </a:path>
              <a:path w="1256665" h="92075">
                <a:moveTo>
                  <a:pt x="317093" y="19088"/>
                </a:moveTo>
                <a:lnTo>
                  <a:pt x="264756" y="19088"/>
                </a:lnTo>
                <a:lnTo>
                  <a:pt x="264756" y="31432"/>
                </a:lnTo>
                <a:lnTo>
                  <a:pt x="317093" y="31432"/>
                </a:lnTo>
                <a:lnTo>
                  <a:pt x="317093" y="19088"/>
                </a:lnTo>
                <a:close/>
              </a:path>
              <a:path w="1256665" h="92075">
                <a:moveTo>
                  <a:pt x="293001" y="4318"/>
                </a:moveTo>
                <a:lnTo>
                  <a:pt x="278142" y="8547"/>
                </a:lnTo>
                <a:lnTo>
                  <a:pt x="278142" y="19088"/>
                </a:lnTo>
                <a:lnTo>
                  <a:pt x="293001" y="19088"/>
                </a:lnTo>
                <a:lnTo>
                  <a:pt x="293001" y="4318"/>
                </a:lnTo>
                <a:close/>
              </a:path>
              <a:path w="1256665" h="92075">
                <a:moveTo>
                  <a:pt x="254495" y="19088"/>
                </a:moveTo>
                <a:lnTo>
                  <a:pt x="239725" y="19088"/>
                </a:lnTo>
                <a:lnTo>
                  <a:pt x="239725" y="69951"/>
                </a:lnTo>
                <a:lnTo>
                  <a:pt x="254495" y="69951"/>
                </a:lnTo>
                <a:lnTo>
                  <a:pt x="254495" y="19088"/>
                </a:lnTo>
                <a:close/>
              </a:path>
              <a:path w="1256665" h="92075">
                <a:moveTo>
                  <a:pt x="254495" y="863"/>
                </a:moveTo>
                <a:lnTo>
                  <a:pt x="239725" y="863"/>
                </a:lnTo>
                <a:lnTo>
                  <a:pt x="239725" y="13728"/>
                </a:lnTo>
                <a:lnTo>
                  <a:pt x="254495" y="13728"/>
                </a:lnTo>
                <a:lnTo>
                  <a:pt x="254495" y="863"/>
                </a:lnTo>
                <a:close/>
              </a:path>
              <a:path w="1256665" h="92075">
                <a:moveTo>
                  <a:pt x="173431" y="52070"/>
                </a:moveTo>
                <a:lnTo>
                  <a:pt x="158661" y="52070"/>
                </a:lnTo>
                <a:lnTo>
                  <a:pt x="161801" y="61846"/>
                </a:lnTo>
                <a:lnTo>
                  <a:pt x="170179" y="67529"/>
                </a:lnTo>
                <a:lnTo>
                  <a:pt x="182235" y="70168"/>
                </a:lnTo>
                <a:lnTo>
                  <a:pt x="196405" y="70815"/>
                </a:lnTo>
                <a:lnTo>
                  <a:pt x="209756" y="70198"/>
                </a:lnTo>
                <a:lnTo>
                  <a:pt x="220022" y="67767"/>
                </a:lnTo>
                <a:lnTo>
                  <a:pt x="226614" y="62649"/>
                </a:lnTo>
                <a:lnTo>
                  <a:pt x="227436" y="59588"/>
                </a:lnTo>
                <a:lnTo>
                  <a:pt x="179044" y="59588"/>
                </a:lnTo>
                <a:lnTo>
                  <a:pt x="173431" y="57518"/>
                </a:lnTo>
                <a:lnTo>
                  <a:pt x="173431" y="52070"/>
                </a:lnTo>
                <a:close/>
              </a:path>
              <a:path w="1256665" h="92075">
                <a:moveTo>
                  <a:pt x="194144" y="18224"/>
                </a:moveTo>
                <a:lnTo>
                  <a:pt x="181188" y="18835"/>
                </a:lnTo>
                <a:lnTo>
                  <a:pt x="170514" y="21142"/>
                </a:lnTo>
                <a:lnTo>
                  <a:pt x="163189" y="25950"/>
                </a:lnTo>
                <a:lnTo>
                  <a:pt x="160477" y="34023"/>
                </a:lnTo>
                <a:lnTo>
                  <a:pt x="162540" y="41404"/>
                </a:lnTo>
                <a:lnTo>
                  <a:pt x="168757" y="45778"/>
                </a:lnTo>
                <a:lnTo>
                  <a:pt x="179165" y="48098"/>
                </a:lnTo>
                <a:lnTo>
                  <a:pt x="193801" y="49314"/>
                </a:lnTo>
                <a:lnTo>
                  <a:pt x="211683" y="50431"/>
                </a:lnTo>
                <a:lnTo>
                  <a:pt x="214109" y="50685"/>
                </a:lnTo>
                <a:lnTo>
                  <a:pt x="214109" y="58547"/>
                </a:lnTo>
                <a:lnTo>
                  <a:pt x="211505" y="59588"/>
                </a:lnTo>
                <a:lnTo>
                  <a:pt x="227436" y="59588"/>
                </a:lnTo>
                <a:lnTo>
                  <a:pt x="195529" y="38430"/>
                </a:lnTo>
                <a:lnTo>
                  <a:pt x="178003" y="37134"/>
                </a:lnTo>
                <a:lnTo>
                  <a:pt x="175323" y="36614"/>
                </a:lnTo>
                <a:lnTo>
                  <a:pt x="175323" y="30492"/>
                </a:lnTo>
                <a:lnTo>
                  <a:pt x="179298" y="29451"/>
                </a:lnTo>
                <a:lnTo>
                  <a:pt x="225691" y="29451"/>
                </a:lnTo>
                <a:lnTo>
                  <a:pt x="224755" y="26245"/>
                </a:lnTo>
                <a:lnTo>
                  <a:pt x="217878" y="21229"/>
                </a:lnTo>
                <a:lnTo>
                  <a:pt x="207404" y="18835"/>
                </a:lnTo>
                <a:lnTo>
                  <a:pt x="194144" y="18224"/>
                </a:lnTo>
                <a:close/>
              </a:path>
              <a:path w="1256665" h="92075">
                <a:moveTo>
                  <a:pt x="225691" y="29451"/>
                </a:moveTo>
                <a:lnTo>
                  <a:pt x="207022" y="29451"/>
                </a:lnTo>
                <a:lnTo>
                  <a:pt x="212382" y="30492"/>
                </a:lnTo>
                <a:lnTo>
                  <a:pt x="212382" y="34721"/>
                </a:lnTo>
                <a:lnTo>
                  <a:pt x="227228" y="34721"/>
                </a:lnTo>
                <a:lnTo>
                  <a:pt x="225691" y="29451"/>
                </a:lnTo>
                <a:close/>
              </a:path>
              <a:path w="1256665" h="92075">
                <a:moveTo>
                  <a:pt x="114909" y="18224"/>
                </a:moveTo>
                <a:lnTo>
                  <a:pt x="100516" y="19704"/>
                </a:lnTo>
                <a:lnTo>
                  <a:pt x="89393" y="24364"/>
                </a:lnTo>
                <a:lnTo>
                  <a:pt x="82221" y="32540"/>
                </a:lnTo>
                <a:lnTo>
                  <a:pt x="79679" y="44564"/>
                </a:lnTo>
                <a:lnTo>
                  <a:pt x="82221" y="56531"/>
                </a:lnTo>
                <a:lnTo>
                  <a:pt x="89393" y="64681"/>
                </a:lnTo>
                <a:lnTo>
                  <a:pt x="100516" y="69335"/>
                </a:lnTo>
                <a:lnTo>
                  <a:pt x="114909" y="70815"/>
                </a:lnTo>
                <a:lnTo>
                  <a:pt x="129265" y="69335"/>
                </a:lnTo>
                <a:lnTo>
                  <a:pt x="140392" y="64681"/>
                </a:lnTo>
                <a:lnTo>
                  <a:pt x="145884" y="58458"/>
                </a:lnTo>
                <a:lnTo>
                  <a:pt x="101180" y="58458"/>
                </a:lnTo>
                <a:lnTo>
                  <a:pt x="94437" y="55092"/>
                </a:lnTo>
                <a:lnTo>
                  <a:pt x="94437" y="33934"/>
                </a:lnTo>
                <a:lnTo>
                  <a:pt x="101180" y="30568"/>
                </a:lnTo>
                <a:lnTo>
                  <a:pt x="145850" y="30568"/>
                </a:lnTo>
                <a:lnTo>
                  <a:pt x="140392" y="24364"/>
                </a:lnTo>
                <a:lnTo>
                  <a:pt x="129265" y="19704"/>
                </a:lnTo>
                <a:lnTo>
                  <a:pt x="114909" y="18224"/>
                </a:lnTo>
                <a:close/>
              </a:path>
              <a:path w="1256665" h="92075">
                <a:moveTo>
                  <a:pt x="145850" y="30568"/>
                </a:moveTo>
                <a:lnTo>
                  <a:pt x="128536" y="30568"/>
                </a:lnTo>
                <a:lnTo>
                  <a:pt x="135280" y="33934"/>
                </a:lnTo>
                <a:lnTo>
                  <a:pt x="135280" y="55092"/>
                </a:lnTo>
                <a:lnTo>
                  <a:pt x="128536" y="58458"/>
                </a:lnTo>
                <a:lnTo>
                  <a:pt x="145884" y="58458"/>
                </a:lnTo>
                <a:lnTo>
                  <a:pt x="147585" y="56531"/>
                </a:lnTo>
                <a:lnTo>
                  <a:pt x="150139" y="44564"/>
                </a:lnTo>
                <a:lnTo>
                  <a:pt x="147585" y="32540"/>
                </a:lnTo>
                <a:lnTo>
                  <a:pt x="145850" y="30568"/>
                </a:lnTo>
                <a:close/>
              </a:path>
              <a:path w="1256665" h="92075">
                <a:moveTo>
                  <a:pt x="47497" y="9512"/>
                </a:moveTo>
                <a:lnTo>
                  <a:pt x="0" y="9512"/>
                </a:lnTo>
                <a:lnTo>
                  <a:pt x="0" y="69951"/>
                </a:lnTo>
                <a:lnTo>
                  <a:pt x="15544" y="69951"/>
                </a:lnTo>
                <a:lnTo>
                  <a:pt x="15544" y="53809"/>
                </a:lnTo>
                <a:lnTo>
                  <a:pt x="47497" y="53809"/>
                </a:lnTo>
                <a:lnTo>
                  <a:pt x="56905" y="52248"/>
                </a:lnTo>
                <a:lnTo>
                  <a:pt x="64215" y="47802"/>
                </a:lnTo>
                <a:lnTo>
                  <a:pt x="68952" y="40833"/>
                </a:lnTo>
                <a:lnTo>
                  <a:pt x="15544" y="40754"/>
                </a:lnTo>
                <a:lnTo>
                  <a:pt x="15544" y="22542"/>
                </a:lnTo>
                <a:lnTo>
                  <a:pt x="68948" y="22542"/>
                </a:lnTo>
                <a:lnTo>
                  <a:pt x="64215" y="15552"/>
                </a:lnTo>
                <a:lnTo>
                  <a:pt x="56905" y="11084"/>
                </a:lnTo>
                <a:lnTo>
                  <a:pt x="47497" y="9512"/>
                </a:lnTo>
                <a:close/>
              </a:path>
              <a:path w="1256665" h="92075">
                <a:moveTo>
                  <a:pt x="68948" y="22542"/>
                </a:moveTo>
                <a:lnTo>
                  <a:pt x="55092" y="22542"/>
                </a:lnTo>
                <a:lnTo>
                  <a:pt x="55092" y="40754"/>
                </a:lnTo>
                <a:lnTo>
                  <a:pt x="68967" y="40754"/>
                </a:lnTo>
                <a:lnTo>
                  <a:pt x="70637" y="31699"/>
                </a:lnTo>
                <a:lnTo>
                  <a:pt x="68948" y="22542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751A90F7-4173-4539-90AE-F4A8B177F34B}"/>
              </a:ext>
            </a:extLst>
          </p:cNvPr>
          <p:cNvSpPr/>
          <p:nvPr/>
        </p:nvSpPr>
        <p:spPr>
          <a:xfrm>
            <a:off x="7119938" y="2743200"/>
            <a:ext cx="2228850" cy="3429000"/>
          </a:xfrm>
          <a:custGeom>
            <a:avLst/>
            <a:gdLst/>
            <a:ahLst/>
            <a:cxnLst/>
            <a:rect l="l" t="t" r="r" b="b"/>
            <a:pathLst>
              <a:path w="3657600" h="4572000">
                <a:moveTo>
                  <a:pt x="3657600" y="0"/>
                </a:moveTo>
                <a:lnTo>
                  <a:pt x="0" y="0"/>
                </a:lnTo>
                <a:lnTo>
                  <a:pt x="0" y="4572000"/>
                </a:lnTo>
                <a:lnTo>
                  <a:pt x="3657600" y="4572000"/>
                </a:lnTo>
                <a:lnTo>
                  <a:pt x="36576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2" name="object 13">
            <a:extLst>
              <a:ext uri="{FF2B5EF4-FFF2-40B4-BE49-F238E27FC236}">
                <a16:creationId xmlns:a16="http://schemas.microsoft.com/office/drawing/2014/main" id="{AEDC5B23-1647-49B1-8689-60FD3A78D068}"/>
              </a:ext>
            </a:extLst>
          </p:cNvPr>
          <p:cNvSpPr/>
          <p:nvPr/>
        </p:nvSpPr>
        <p:spPr>
          <a:xfrm>
            <a:off x="0" y="0"/>
            <a:ext cx="3219450" cy="6858000"/>
          </a:xfrm>
          <a:custGeom>
            <a:avLst/>
            <a:gdLst/>
            <a:ahLst/>
            <a:cxnLst/>
            <a:rect l="l" t="t" r="r" b="b"/>
            <a:pathLst>
              <a:path w="5283200" h="9144000">
                <a:moveTo>
                  <a:pt x="5283200" y="0"/>
                </a:moveTo>
                <a:lnTo>
                  <a:pt x="0" y="0"/>
                </a:lnTo>
                <a:lnTo>
                  <a:pt x="0" y="9144000"/>
                </a:lnTo>
                <a:lnTo>
                  <a:pt x="5283200" y="9144000"/>
                </a:lnTo>
                <a:lnTo>
                  <a:pt x="528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26" name="object 25">
            <a:extLst>
              <a:ext uri="{FF2B5EF4-FFF2-40B4-BE49-F238E27FC236}">
                <a16:creationId xmlns:a16="http://schemas.microsoft.com/office/drawing/2014/main" id="{B878D6D7-A21E-4916-A1DB-9ADACBC53B10}"/>
              </a:ext>
            </a:extLst>
          </p:cNvPr>
          <p:cNvSpPr/>
          <p:nvPr/>
        </p:nvSpPr>
        <p:spPr>
          <a:xfrm>
            <a:off x="6562725" y="1371599"/>
            <a:ext cx="1671638" cy="4800600"/>
          </a:xfrm>
          <a:custGeom>
            <a:avLst/>
            <a:gdLst/>
            <a:ahLst/>
            <a:cxnLst/>
            <a:rect l="l" t="t" r="r" b="b"/>
            <a:pathLst>
              <a:path w="2743200" h="6400800">
                <a:moveTo>
                  <a:pt x="914400" y="5486400"/>
                </a:moveTo>
                <a:lnTo>
                  <a:pt x="0" y="5486400"/>
                </a:lnTo>
                <a:lnTo>
                  <a:pt x="0" y="6400800"/>
                </a:lnTo>
                <a:lnTo>
                  <a:pt x="914400" y="6400800"/>
                </a:lnTo>
                <a:lnTo>
                  <a:pt x="914400" y="5486400"/>
                </a:lnTo>
                <a:close/>
              </a:path>
              <a:path w="2743200" h="6400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2743200" h="6400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CF9F1995-3828-492B-8E00-DABB95B1CE1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2" y="5486401"/>
            <a:ext cx="1547813" cy="685799"/>
          </a:xfrm>
          <a:noFill/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E3D4C3-7FF7-4C2C-AC1C-58D153EBB7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9474" y="1029173"/>
            <a:ext cx="2102316" cy="2114550"/>
          </a:xfrm>
        </p:spPr>
        <p:txBody>
          <a:bodyPr/>
          <a:lstStyle/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4CC0C3C-8E8C-4602-B27C-EAA9C3EB84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5737" y="1029173"/>
            <a:ext cx="2505908" cy="211455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D69663-3C24-47D3-AADB-4E2655570CE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6154115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7841DCF2-2B94-45F3-94F5-118FE191F00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7213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7" name="Text Placeholder 18">
            <a:extLst>
              <a:ext uri="{FF2B5EF4-FFF2-40B4-BE49-F238E27FC236}">
                <a16:creationId xmlns:a16="http://schemas.microsoft.com/office/drawing/2014/main" id="{9675BD83-58FE-4C71-B90D-479A1D8BFE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18680" y="33289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570C0C40-76FE-48E0-A40C-7FA39A61163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3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2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380F4B4-DFB8-45BA-BF39-FD12DC17938D}"/>
              </a:ext>
            </a:extLst>
          </p:cNvPr>
          <p:cNvSpPr/>
          <p:nvPr/>
        </p:nvSpPr>
        <p:spPr>
          <a:xfrm>
            <a:off x="0" y="5143500"/>
            <a:ext cx="9906000" cy="1714500"/>
          </a:xfrm>
          <a:custGeom>
            <a:avLst/>
            <a:gdLst>
              <a:gd name="connsiteX0" fmla="*/ 0 w 16256000"/>
              <a:gd name="connsiteY0" fmla="*/ 0 h 2286000"/>
              <a:gd name="connsiteX1" fmla="*/ 16256000 w 16256000"/>
              <a:gd name="connsiteY1" fmla="*/ 0 h 2286000"/>
              <a:gd name="connsiteX2" fmla="*/ 16256000 w 16256000"/>
              <a:gd name="connsiteY2" fmla="*/ 1371600 h 2286000"/>
              <a:gd name="connsiteX3" fmla="*/ 15341600 w 16256000"/>
              <a:gd name="connsiteY3" fmla="*/ 1371600 h 2286000"/>
              <a:gd name="connsiteX4" fmla="*/ 15341600 w 16256000"/>
              <a:gd name="connsiteY4" fmla="*/ 2286000 h 2286000"/>
              <a:gd name="connsiteX5" fmla="*/ 0 w 16256000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56000" h="2286000">
                <a:moveTo>
                  <a:pt x="0" y="0"/>
                </a:moveTo>
                <a:lnTo>
                  <a:pt x="16256000" y="0"/>
                </a:lnTo>
                <a:lnTo>
                  <a:pt x="16256000" y="1371600"/>
                </a:lnTo>
                <a:lnTo>
                  <a:pt x="15341600" y="1371600"/>
                </a:lnTo>
                <a:lnTo>
                  <a:pt x="15341600" y="2286000"/>
                </a:lnTo>
                <a:lnTo>
                  <a:pt x="0" y="2286000"/>
                </a:lnTo>
                <a:close/>
              </a:path>
            </a:pathLst>
          </a:custGeom>
          <a:solidFill>
            <a:srgbClr val="222C4A"/>
          </a:solidFill>
        </p:spPr>
        <p:txBody>
          <a:bodyPr wrap="square" lIns="0" tIns="0" rIns="0" bIns="0" rtlCol="0">
            <a:noAutofit/>
          </a:bodyPr>
          <a:lstStyle/>
          <a:p>
            <a:endParaRPr sz="1097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FA622AA-407E-4F46-953C-4F5CFFF27758}"/>
              </a:ext>
            </a:extLst>
          </p:cNvPr>
          <p:cNvGrpSpPr/>
          <p:nvPr/>
        </p:nvGrpSpPr>
        <p:grpSpPr>
          <a:xfrm>
            <a:off x="7820355" y="5902836"/>
            <a:ext cx="215146" cy="264795"/>
            <a:chOff x="12833403" y="7870446"/>
            <a:chExt cx="353060" cy="353060"/>
          </a:xfrm>
        </p:grpSpPr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FE6F9D51-5130-443F-B1D6-66A7423C656F}"/>
                </a:ext>
              </a:extLst>
            </p:cNvPr>
            <p:cNvSpPr/>
            <p:nvPr/>
          </p:nvSpPr>
          <p:spPr>
            <a:xfrm>
              <a:off x="12833403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9D8A372B-5C39-4A64-9C1B-63367CD65657}"/>
                </a:ext>
              </a:extLst>
            </p:cNvPr>
            <p:cNvSpPr/>
            <p:nvPr/>
          </p:nvSpPr>
          <p:spPr>
            <a:xfrm>
              <a:off x="12956971" y="7938711"/>
              <a:ext cx="105664" cy="21626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B1B7B49-0DA0-45B6-8E19-E1D65283D0ED}"/>
              </a:ext>
            </a:extLst>
          </p:cNvPr>
          <p:cNvGrpSpPr/>
          <p:nvPr/>
        </p:nvGrpSpPr>
        <p:grpSpPr>
          <a:xfrm>
            <a:off x="8147749" y="5902836"/>
            <a:ext cx="215146" cy="264795"/>
            <a:chOff x="13370664" y="7870446"/>
            <a:chExt cx="353060" cy="353060"/>
          </a:xfrm>
        </p:grpSpPr>
        <p:sp>
          <p:nvSpPr>
            <p:cNvPr id="18" name="object 16">
              <a:extLst>
                <a:ext uri="{FF2B5EF4-FFF2-40B4-BE49-F238E27FC236}">
                  <a16:creationId xmlns:a16="http://schemas.microsoft.com/office/drawing/2014/main" id="{656B5F96-588D-4950-953A-24C2FAA305BA}"/>
                </a:ext>
              </a:extLst>
            </p:cNvPr>
            <p:cNvSpPr/>
            <p:nvPr/>
          </p:nvSpPr>
          <p:spPr>
            <a:xfrm>
              <a:off x="13370664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19" name="object 17">
              <a:extLst>
                <a:ext uri="{FF2B5EF4-FFF2-40B4-BE49-F238E27FC236}">
                  <a16:creationId xmlns:a16="http://schemas.microsoft.com/office/drawing/2014/main" id="{11BF1B32-D111-4881-9DFF-43E6C6F520A6}"/>
                </a:ext>
              </a:extLst>
            </p:cNvPr>
            <p:cNvSpPr/>
            <p:nvPr/>
          </p:nvSpPr>
          <p:spPr>
            <a:xfrm>
              <a:off x="13442765" y="7962081"/>
              <a:ext cx="208597" cy="16953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6C6C106-DE9F-424D-9B9A-C24F893C9D73}"/>
              </a:ext>
            </a:extLst>
          </p:cNvPr>
          <p:cNvGrpSpPr/>
          <p:nvPr/>
        </p:nvGrpSpPr>
        <p:grpSpPr>
          <a:xfrm>
            <a:off x="9129932" y="5902836"/>
            <a:ext cx="215146" cy="264795"/>
            <a:chOff x="14982452" y="7870446"/>
            <a:chExt cx="353060" cy="353060"/>
          </a:xfrm>
        </p:grpSpPr>
        <p:sp>
          <p:nvSpPr>
            <p:cNvPr id="20" name="object 18">
              <a:extLst>
                <a:ext uri="{FF2B5EF4-FFF2-40B4-BE49-F238E27FC236}">
                  <a16:creationId xmlns:a16="http://schemas.microsoft.com/office/drawing/2014/main" id="{48B0EE01-8313-438B-85E4-919E3227E5BE}"/>
                </a:ext>
              </a:extLst>
            </p:cNvPr>
            <p:cNvSpPr/>
            <p:nvPr/>
          </p:nvSpPr>
          <p:spPr>
            <a:xfrm>
              <a:off x="14982452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4656ECC0-6C42-4410-9C22-44D7020441F1}"/>
                </a:ext>
              </a:extLst>
            </p:cNvPr>
            <p:cNvSpPr/>
            <p:nvPr/>
          </p:nvSpPr>
          <p:spPr>
            <a:xfrm>
              <a:off x="15049749" y="7937746"/>
              <a:ext cx="218198" cy="21819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C6C8FFF-8FEA-4190-BEF9-18887051D0DD}"/>
              </a:ext>
            </a:extLst>
          </p:cNvPr>
          <p:cNvGrpSpPr/>
          <p:nvPr/>
        </p:nvGrpSpPr>
        <p:grpSpPr>
          <a:xfrm>
            <a:off x="8802538" y="5902836"/>
            <a:ext cx="215146" cy="264795"/>
            <a:chOff x="14445191" y="7870446"/>
            <a:chExt cx="353060" cy="353060"/>
          </a:xfrm>
        </p:grpSpPr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23414877-28FB-4DC1-8403-7063952D0A34}"/>
                </a:ext>
              </a:extLst>
            </p:cNvPr>
            <p:cNvSpPr/>
            <p:nvPr/>
          </p:nvSpPr>
          <p:spPr>
            <a:xfrm>
              <a:off x="14445191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152A3D67-68A0-4395-A725-E4D4B063083F}"/>
                </a:ext>
              </a:extLst>
            </p:cNvPr>
            <p:cNvSpPr/>
            <p:nvPr/>
          </p:nvSpPr>
          <p:spPr>
            <a:xfrm>
              <a:off x="14516264" y="7973118"/>
              <a:ext cx="210654" cy="14744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9B15965-B2D7-4F16-8E53-EFCD29DF2415}"/>
              </a:ext>
            </a:extLst>
          </p:cNvPr>
          <p:cNvGrpSpPr/>
          <p:nvPr/>
        </p:nvGrpSpPr>
        <p:grpSpPr>
          <a:xfrm>
            <a:off x="8475144" y="5902836"/>
            <a:ext cx="215146" cy="264795"/>
            <a:chOff x="13907928" y="7870446"/>
            <a:chExt cx="353060" cy="353060"/>
          </a:xfrm>
        </p:grpSpPr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55F9FD29-BE99-4B55-9E02-369EDD098BF6}"/>
                </a:ext>
              </a:extLst>
            </p:cNvPr>
            <p:cNvSpPr/>
            <p:nvPr/>
          </p:nvSpPr>
          <p:spPr>
            <a:xfrm>
              <a:off x="13907928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BD7E5DCE-E3CE-4A81-935E-3853938624C6}"/>
                </a:ext>
              </a:extLst>
            </p:cNvPr>
            <p:cNvSpPr/>
            <p:nvPr/>
          </p:nvSpPr>
          <p:spPr>
            <a:xfrm>
              <a:off x="13990901" y="7954696"/>
              <a:ext cx="186842" cy="18430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sp>
        <p:nvSpPr>
          <p:cNvPr id="30" name="object 8">
            <a:extLst>
              <a:ext uri="{FF2B5EF4-FFF2-40B4-BE49-F238E27FC236}">
                <a16:creationId xmlns:a16="http://schemas.microsoft.com/office/drawing/2014/main" id="{30407C8C-1F92-4D15-91A5-2F39144E61A5}"/>
              </a:ext>
            </a:extLst>
          </p:cNvPr>
          <p:cNvSpPr txBox="1"/>
          <p:nvPr/>
        </p:nvSpPr>
        <p:spPr>
          <a:xfrm>
            <a:off x="7820355" y="5487351"/>
            <a:ext cx="1536558" cy="215957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grpSp>
        <p:nvGrpSpPr>
          <p:cNvPr id="38" name="Graphique 30">
            <a:extLst>
              <a:ext uri="{FF2B5EF4-FFF2-40B4-BE49-F238E27FC236}">
                <a16:creationId xmlns:a16="http://schemas.microsoft.com/office/drawing/2014/main" id="{EFD8DA84-E25B-4397-9A13-BE58B213B7EB}"/>
              </a:ext>
            </a:extLst>
          </p:cNvPr>
          <p:cNvGrpSpPr>
            <a:grpSpLocks noChangeAspect="1"/>
          </p:cNvGrpSpPr>
          <p:nvPr/>
        </p:nvGrpSpPr>
        <p:grpSpPr>
          <a:xfrm>
            <a:off x="557213" y="5553303"/>
            <a:ext cx="2228850" cy="650468"/>
            <a:chOff x="6756400" y="5334000"/>
            <a:chExt cx="1824936" cy="432729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D7AB141-7BCF-40C0-B8C8-1BE3AA1B10F4}"/>
                </a:ext>
              </a:extLst>
            </p:cNvPr>
            <p:cNvSpPr/>
            <p:nvPr/>
          </p:nvSpPr>
          <p:spPr>
            <a:xfrm>
              <a:off x="7041667" y="567528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97"/>
            </a:p>
          </p:txBody>
        </p:sp>
        <p:grpSp>
          <p:nvGrpSpPr>
            <p:cNvPr id="40" name="Graphique 30">
              <a:extLst>
                <a:ext uri="{FF2B5EF4-FFF2-40B4-BE49-F238E27FC236}">
                  <a16:creationId xmlns:a16="http://schemas.microsoft.com/office/drawing/2014/main" id="{C1A2F515-8375-4C33-99AF-323CF12CD29D}"/>
                </a:ext>
              </a:extLst>
            </p:cNvPr>
            <p:cNvGrpSpPr/>
            <p:nvPr/>
          </p:nvGrpSpPr>
          <p:grpSpPr>
            <a:xfrm>
              <a:off x="6756400" y="5334000"/>
              <a:ext cx="1824936" cy="273031"/>
              <a:chOff x="6756400" y="5334000"/>
              <a:chExt cx="1824936" cy="273031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61F09EFB-CB0B-4FBD-B3D9-8948AB4B0676}"/>
                  </a:ext>
                </a:extLst>
              </p:cNvPr>
              <p:cNvSpPr/>
              <p:nvPr/>
            </p:nvSpPr>
            <p:spPr>
              <a:xfrm>
                <a:off x="6756400" y="533400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87CE0B4-A958-4D06-9420-19E32A7A994A}"/>
                  </a:ext>
                </a:extLst>
              </p:cNvPr>
              <p:cNvSpPr/>
              <p:nvPr/>
            </p:nvSpPr>
            <p:spPr>
              <a:xfrm>
                <a:off x="8363039" y="538422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97"/>
              </a:p>
            </p:txBody>
          </p:sp>
        </p:grpSp>
      </p:grp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1F2F5812-A87B-4FF0-8AF0-430D0522C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18680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565143D5-803B-4BBC-9EEC-05BD666ADE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31606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15EB7A04-D68C-41D0-B905-5073B5F80E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93074" y="33289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E0B973B9-F199-4B5E-803F-4410743BD7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31606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A2767ABD-17B9-4375-BB06-FA22C3DCE9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3074" y="1614407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</p:spTree>
    <p:extLst>
      <p:ext uri="{BB962C8B-B14F-4D97-AF65-F5344CB8AC3E}">
        <p14:creationId xmlns:p14="http://schemas.microsoft.com/office/powerpoint/2010/main" val="12731879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/>
        </p:nvSpPr>
        <p:spPr>
          <a:xfrm>
            <a:off x="556838" y="5552613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/>
        </p:nvSpPr>
        <p:spPr>
          <a:xfrm>
            <a:off x="884326" y="5552613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3" y="3713308"/>
            <a:ext cx="2228850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/>
        </p:nvSpPr>
        <p:spPr>
          <a:xfrm>
            <a:off x="6005589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5" name="object 13">
            <a:extLst>
              <a:ext uri="{FF2B5EF4-FFF2-40B4-BE49-F238E27FC236}">
                <a16:creationId xmlns:a16="http://schemas.microsoft.com/office/drawing/2014/main" id="{2F0B4D82-3112-41F2-AD2B-0EF2CD0013D4}"/>
              </a:ext>
            </a:extLst>
          </p:cNvPr>
          <p:cNvSpPr txBox="1"/>
          <p:nvPr/>
        </p:nvSpPr>
        <p:spPr>
          <a:xfrm>
            <a:off x="3645099" y="3895726"/>
            <a:ext cx="1245989" cy="215957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/>
        </p:nvSpPr>
        <p:spPr>
          <a:xfrm>
            <a:off x="549474" y="4791074"/>
            <a:ext cx="4960739" cy="541847"/>
          </a:xfrm>
          <a:prstGeom prst="rect">
            <a:avLst/>
          </a:prstGeom>
        </p:spPr>
        <p:txBody>
          <a:bodyPr vert="horz" wrap="square" lIns="0" tIns="13544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6"/>
              </a:spcBef>
            </a:pP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/>
        </p:nvSpPr>
        <p:spPr>
          <a:xfrm>
            <a:off x="1211814" y="5552612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/>
        </p:nvSpPr>
        <p:spPr>
          <a:xfrm>
            <a:off x="1539302" y="5552612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/>
        </p:nvSpPr>
        <p:spPr>
          <a:xfrm>
            <a:off x="1866791" y="5552612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7D4A96E6-C3EB-45C1-B3BA-4E240EF4D554}"/>
              </a:ext>
            </a:extLst>
          </p:cNvPr>
          <p:cNvSpPr/>
          <p:nvPr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</p:spTree>
    <p:extLst>
      <p:ext uri="{BB962C8B-B14F-4D97-AF65-F5344CB8AC3E}">
        <p14:creationId xmlns:p14="http://schemas.microsoft.com/office/powerpoint/2010/main" val="42556039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rk End 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/>
        </p:nvSpPr>
        <p:spPr>
          <a:xfrm>
            <a:off x="556838" y="5552613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/>
        </p:nvSpPr>
        <p:spPr>
          <a:xfrm>
            <a:off x="884326" y="5552613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8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/>
        </p:nvSpPr>
        <p:spPr>
          <a:xfrm>
            <a:off x="6005589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/>
        </p:nvSpPr>
        <p:spPr>
          <a:xfrm>
            <a:off x="549474" y="4791074"/>
            <a:ext cx="4960739" cy="541847"/>
          </a:xfrm>
          <a:prstGeom prst="rect">
            <a:avLst/>
          </a:prstGeom>
        </p:spPr>
        <p:txBody>
          <a:bodyPr vert="horz" wrap="square" lIns="0" tIns="13544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6"/>
              </a:spcBef>
            </a:pP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/>
        </p:nvSpPr>
        <p:spPr>
          <a:xfrm>
            <a:off x="1211814" y="5552612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/>
        </p:nvSpPr>
        <p:spPr>
          <a:xfrm>
            <a:off x="1539302" y="5552612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/>
        </p:nvSpPr>
        <p:spPr>
          <a:xfrm>
            <a:off x="1866791" y="5552612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FBBE171D-EA4E-452C-8EBE-60BD260840FF}"/>
              </a:ext>
            </a:extLst>
          </p:cNvPr>
          <p:cNvSpPr/>
          <p:nvPr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609C26D4-87EE-42AD-8338-D5EE327E9EA9}"/>
              </a:ext>
            </a:extLst>
          </p:cNvPr>
          <p:cNvSpPr txBox="1"/>
          <p:nvPr/>
        </p:nvSpPr>
        <p:spPr>
          <a:xfrm>
            <a:off x="3645099" y="3895726"/>
            <a:ext cx="1245989" cy="215957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7568191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" descr="Slide_footer_0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58575"/>
            <a:ext cx="9906000" cy="17994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3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0336" y="6093107"/>
            <a:ext cx="784356" cy="525600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073099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05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rk End F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/>
        </p:nvSpPr>
        <p:spPr>
          <a:xfrm>
            <a:off x="556838" y="5552613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/>
        </p:nvSpPr>
        <p:spPr>
          <a:xfrm>
            <a:off x="884326" y="5552613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97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8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1097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/>
        </p:nvSpPr>
        <p:spPr>
          <a:xfrm>
            <a:off x="6005589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/>
        </p:nvSpPr>
        <p:spPr>
          <a:xfrm>
            <a:off x="1211814" y="5552612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/>
        </p:nvSpPr>
        <p:spPr>
          <a:xfrm>
            <a:off x="1539302" y="5552612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/>
        </p:nvSpPr>
        <p:spPr>
          <a:xfrm>
            <a:off x="1866791" y="5552612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97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FBBE171D-EA4E-452C-8EBE-60BD260840FF}"/>
              </a:ext>
            </a:extLst>
          </p:cNvPr>
          <p:cNvSpPr/>
          <p:nvPr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1097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609C26D4-87EE-42AD-8338-D5EE327E9EA9}"/>
              </a:ext>
            </a:extLst>
          </p:cNvPr>
          <p:cNvSpPr txBox="1"/>
          <p:nvPr/>
        </p:nvSpPr>
        <p:spPr>
          <a:xfrm>
            <a:off x="3645099" y="3895726"/>
            <a:ext cx="1245989" cy="215957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19" name="object 29">
            <a:extLst>
              <a:ext uri="{FF2B5EF4-FFF2-40B4-BE49-F238E27FC236}">
                <a16:creationId xmlns:a16="http://schemas.microsoft.com/office/drawing/2014/main" id="{6F3CD315-706A-434B-868F-34214EBB8D8B}"/>
              </a:ext>
            </a:extLst>
          </p:cNvPr>
          <p:cNvSpPr txBox="1"/>
          <p:nvPr/>
        </p:nvSpPr>
        <p:spPr>
          <a:xfrm>
            <a:off x="549474" y="4791074"/>
            <a:ext cx="4960739" cy="541847"/>
          </a:xfrm>
          <a:prstGeom prst="rect">
            <a:avLst/>
          </a:prstGeom>
        </p:spPr>
        <p:txBody>
          <a:bodyPr vert="horz" wrap="square" lIns="0" tIns="13544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6"/>
              </a:spcBef>
            </a:pP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SPAGNE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</a:t>
            </a:r>
            <a:r>
              <a:rPr lang="fr-FR"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UISSE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LETERRE</a:t>
            </a:r>
            <a:r>
              <a:rPr sz="853" spc="7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OGN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AN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OC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N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S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</a:t>
            </a:r>
            <a:r>
              <a:rPr lang="fr-FR"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U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</a:t>
            </a:r>
            <a:r>
              <a:rPr lang="fr-FR"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</a:t>
            </a:r>
            <a:r>
              <a:rPr lang="fr-FR"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O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UBL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 DOMINICAIN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R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lang="fr-FR" sz="853" spc="1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.A.U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36735538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65291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7F5AF90-088B-406A-A347-1CEAF460C8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9851DD1-8E70-45BD-968B-901CCAD56F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C678A6D-014D-45AE-A53F-E619B1E3A9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0BC47-9A95-4B85-B870-1F2BC530B481}" type="datetimeFigureOut">
              <a:rPr lang="fr-FR" smtClean="0"/>
              <a:t>20/08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505731E-B934-44E1-A9EA-014FA88AE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15F53D8-0A89-4B2F-8FB4-B8D78EFC1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4395A8-AF9B-488E-88F5-09C8DC541A8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950184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Cover ">
    <p:bg>
      <p:bgPr>
        <a:solidFill>
          <a:srgbClr val="222C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 userDrawn="1"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0065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485900" y="3581017"/>
            <a:ext cx="6934200" cy="530387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ctr">
              <a:defRPr sz="3352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grpSp>
        <p:nvGrpSpPr>
          <p:cNvPr id="20" name="Graphique 9">
            <a:extLst>
              <a:ext uri="{FF2B5EF4-FFF2-40B4-BE49-F238E27FC236}">
                <a16:creationId xmlns:a16="http://schemas.microsoft.com/office/drawing/2014/main" id="{961BD59A-05B1-4C02-8A81-07CA8BDC8D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1363" y="1450526"/>
            <a:ext cx="3343275" cy="975702"/>
            <a:chOff x="13512800" y="647260"/>
            <a:chExt cx="1824936" cy="432729"/>
          </a:xfrm>
        </p:grpSpPr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99653365-B3C4-444F-82DE-285CF0E1CA6F}"/>
                </a:ext>
              </a:extLst>
            </p:cNvPr>
            <p:cNvSpPr/>
            <p:nvPr/>
          </p:nvSpPr>
          <p:spPr>
            <a:xfrm>
              <a:off x="13798067" y="98854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 noProof="0"/>
            </a:p>
          </p:txBody>
        </p:sp>
        <p:grpSp>
          <p:nvGrpSpPr>
            <p:cNvPr id="22" name="Graphique 9">
              <a:extLst>
                <a:ext uri="{FF2B5EF4-FFF2-40B4-BE49-F238E27FC236}">
                  <a16:creationId xmlns:a16="http://schemas.microsoft.com/office/drawing/2014/main" id="{961BD59A-05B1-4C02-8A81-07CA8BDC8DAD}"/>
                </a:ext>
              </a:extLst>
            </p:cNvPr>
            <p:cNvGrpSpPr/>
            <p:nvPr/>
          </p:nvGrpSpPr>
          <p:grpSpPr>
            <a:xfrm>
              <a:off x="13512800" y="647260"/>
              <a:ext cx="1824936" cy="273031"/>
              <a:chOff x="13512800" y="647260"/>
              <a:chExt cx="1824936" cy="273031"/>
            </a:xfrm>
          </p:grpSpPr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FF233BB3-ACF3-4781-BB6A-01081E108397}"/>
                  </a:ext>
                </a:extLst>
              </p:cNvPr>
              <p:cNvSpPr/>
              <p:nvPr/>
            </p:nvSpPr>
            <p:spPr>
              <a:xfrm>
                <a:off x="13512800" y="64726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tx2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E66A88E7-6071-4EAC-880E-DC729DF67D56}"/>
                  </a:ext>
                </a:extLst>
              </p:cNvPr>
              <p:cNvSpPr/>
              <p:nvPr/>
            </p:nvSpPr>
            <p:spPr>
              <a:xfrm>
                <a:off x="15119439" y="69748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 noProof="0"/>
              </a:p>
            </p:txBody>
          </p:sp>
        </p:grpSp>
      </p:grpSp>
      <p:sp>
        <p:nvSpPr>
          <p:cNvPr id="28" name="object 7">
            <a:extLst>
              <a:ext uri="{FF2B5EF4-FFF2-40B4-BE49-F238E27FC236}">
                <a16:creationId xmlns:a16="http://schemas.microsoft.com/office/drawing/2014/main" id="{29822F41-3E84-4E9E-9116-6C25F75AAF11}"/>
              </a:ext>
            </a:extLst>
          </p:cNvPr>
          <p:cNvSpPr/>
          <p:nvPr userDrawn="1"/>
        </p:nvSpPr>
        <p:spPr>
          <a:xfrm>
            <a:off x="8791567" y="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sp>
        <p:nvSpPr>
          <p:cNvPr id="5" name="bg object 20">
            <a:extLst>
              <a:ext uri="{FF2B5EF4-FFF2-40B4-BE49-F238E27FC236}">
                <a16:creationId xmlns:a16="http://schemas.microsoft.com/office/drawing/2014/main" id="{A151CB84-5005-40BA-BAF1-E69C66FDC882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DBE354-2B85-4429-839B-46B1BC3E95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60435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215033" y="1669251"/>
            <a:ext cx="5130998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troduction</a:t>
            </a: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69177CBD-B7C4-44E2-AA0C-473214EADBDA}"/>
              </a:ext>
            </a:extLst>
          </p:cNvPr>
          <p:cNvSpPr/>
          <p:nvPr userDrawn="1"/>
        </p:nvSpPr>
        <p:spPr>
          <a:xfrm>
            <a:off x="0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lang="en-US" sz="731" noProof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" name="object 4">
            <a:extLst>
              <a:ext uri="{FF2B5EF4-FFF2-40B4-BE49-F238E27FC236}">
                <a16:creationId xmlns:a16="http://schemas.microsoft.com/office/drawing/2014/main" id="{D3C0EACF-3AD5-4884-9531-06FDA14E14F3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8F84A533-D15F-4251-B825-30C4967127B7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5815314C-9423-41A5-BEA4-E339EE8896A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1E59CB-5F39-462D-B61D-4A4C7D89DC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15033" y="2227416"/>
            <a:ext cx="5130998" cy="182985"/>
          </a:xfrm>
        </p:spPr>
        <p:txBody>
          <a:bodyPr wrap="square" tIns="14400">
            <a:spAutoFit/>
          </a:bodyPr>
          <a:lstStyle>
            <a:lvl1pPr>
              <a:spcBef>
                <a:spcPts val="0"/>
              </a:spcBef>
              <a:defRPr sz="1097">
                <a:solidFill>
                  <a:schemeClr val="accent3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43F9D-3345-4E29-AB08-377E0B10E7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sz="609" dirty="0"/>
          </a:p>
        </p:txBody>
      </p:sp>
    </p:spTree>
    <p:extLst>
      <p:ext uri="{BB962C8B-B14F-4D97-AF65-F5344CB8AC3E}">
        <p14:creationId xmlns:p14="http://schemas.microsoft.com/office/powerpoint/2010/main" val="41478016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13" name="Text Placeholder 31">
            <a:extLst>
              <a:ext uri="{FF2B5EF4-FFF2-40B4-BE49-F238E27FC236}">
                <a16:creationId xmlns:a16="http://schemas.microsoft.com/office/drawing/2014/main" id="{3511C7BF-3840-4CE8-BB5B-C7B08391350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237088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14" name="Text Placeholder 18">
            <a:extLst>
              <a:ext uri="{FF2B5EF4-FFF2-40B4-BE49-F238E27FC236}">
                <a16:creationId xmlns:a16="http://schemas.microsoft.com/office/drawing/2014/main" id="{EFD58F2A-B07B-4D2B-8951-E00DDA67D76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802041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5" name="Text Placeholder 18">
            <a:extLst>
              <a:ext uri="{FF2B5EF4-FFF2-40B4-BE49-F238E27FC236}">
                <a16:creationId xmlns:a16="http://schemas.microsoft.com/office/drawing/2014/main" id="{A3AA694F-FB48-41A8-B07B-EC1F3B40C39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802040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0" name="Text Placeholder 18">
            <a:extLst>
              <a:ext uri="{FF2B5EF4-FFF2-40B4-BE49-F238E27FC236}">
                <a16:creationId xmlns:a16="http://schemas.microsoft.com/office/drawing/2014/main" id="{8465A35D-EC66-40E8-80CC-6934147C890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837254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3" name="Text Placeholder 31">
            <a:extLst>
              <a:ext uri="{FF2B5EF4-FFF2-40B4-BE49-F238E27FC236}">
                <a16:creationId xmlns:a16="http://schemas.microsoft.com/office/drawing/2014/main" id="{F5A26CFA-C26B-4F48-AFCC-68C933599A6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7212" y="3908831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4" name="Text Placeholder 18">
            <a:extLst>
              <a:ext uri="{FF2B5EF4-FFF2-40B4-BE49-F238E27FC236}">
                <a16:creationId xmlns:a16="http://schemas.microsoft.com/office/drawing/2014/main" id="{248854A8-0EED-4EC1-81BB-9B97B87D848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122165" y="4133525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5" name="Text Placeholder 18">
            <a:extLst>
              <a:ext uri="{FF2B5EF4-FFF2-40B4-BE49-F238E27FC236}">
                <a16:creationId xmlns:a16="http://schemas.microsoft.com/office/drawing/2014/main" id="{FF847E46-100F-4B85-ABC9-C63CBCF3D745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122164" y="4492280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6" name="Text Placeholder 18">
            <a:extLst>
              <a:ext uri="{FF2B5EF4-FFF2-40B4-BE49-F238E27FC236}">
                <a16:creationId xmlns:a16="http://schemas.microsoft.com/office/drawing/2014/main" id="{1EDAB9D3-F6BE-48C5-94F8-F0CEB0166F34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57378" y="4492279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37" name="Text Placeholder 31">
            <a:extLst>
              <a:ext uri="{FF2B5EF4-FFF2-40B4-BE49-F238E27FC236}">
                <a16:creationId xmlns:a16="http://schemas.microsoft.com/office/drawing/2014/main" id="{6FFEF1B8-6626-4B8C-86D2-FD64ECC7E0EE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8" name="Text Placeholder 18">
            <a:extLst>
              <a:ext uri="{FF2B5EF4-FFF2-40B4-BE49-F238E27FC236}">
                <a16:creationId xmlns:a16="http://schemas.microsoft.com/office/drawing/2014/main" id="{5F1270D3-9E35-4323-99FB-4AA40123E72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9" name="Text Placeholder 18">
            <a:extLst>
              <a:ext uri="{FF2B5EF4-FFF2-40B4-BE49-F238E27FC236}">
                <a16:creationId xmlns:a16="http://schemas.microsoft.com/office/drawing/2014/main" id="{1C93CA53-2F3D-4CA4-A60D-15B2C8F92786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0" name="Text Placeholder 18">
            <a:extLst>
              <a:ext uri="{FF2B5EF4-FFF2-40B4-BE49-F238E27FC236}">
                <a16:creationId xmlns:a16="http://schemas.microsoft.com/office/drawing/2014/main" id="{93C6D7CE-3B53-4781-9604-D0FE8BEF0B5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1" name="Text Placeholder 31">
            <a:extLst>
              <a:ext uri="{FF2B5EF4-FFF2-40B4-BE49-F238E27FC236}">
                <a16:creationId xmlns:a16="http://schemas.microsoft.com/office/drawing/2014/main" id="{F09C8D30-46AD-4E01-B69D-ECF0E9639720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2" name="Text Placeholder 18">
            <a:extLst>
              <a:ext uri="{FF2B5EF4-FFF2-40B4-BE49-F238E27FC236}">
                <a16:creationId xmlns:a16="http://schemas.microsoft.com/office/drawing/2014/main" id="{6BBF8358-0312-4476-A379-4092F5096A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131FAF0A-F8E5-4E88-BBC2-856B2610CB5C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DF585C99-0360-4056-A9DA-37C046EC20F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2D049B-FF10-4FE9-B55A-5E1428FB2026}"/>
              </a:ext>
            </a:extLst>
          </p:cNvPr>
          <p:cNvSpPr>
            <a:spLocks noGrp="1"/>
          </p:cNvSpPr>
          <p:nvPr>
            <p:ph type="ftr" sz="quarter" idx="1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  <p:sp>
        <p:nvSpPr>
          <p:cNvPr id="21" name="Titre 3">
            <a:extLst>
              <a:ext uri="{FF2B5EF4-FFF2-40B4-BE49-F238E27FC236}">
                <a16:creationId xmlns:a16="http://schemas.microsoft.com/office/drawing/2014/main" id="{AE0B397F-537F-475A-B197-1EC9819F9B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859135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02" name="Text Placeholder 31">
            <a:extLst>
              <a:ext uri="{FF2B5EF4-FFF2-40B4-BE49-F238E27FC236}">
                <a16:creationId xmlns:a16="http://schemas.microsoft.com/office/drawing/2014/main" id="{7EC72E04-62A6-456D-9129-8BFC76A3EA7B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3" name="Text Placeholder 18">
            <a:extLst>
              <a:ext uri="{FF2B5EF4-FFF2-40B4-BE49-F238E27FC236}">
                <a16:creationId xmlns:a16="http://schemas.microsoft.com/office/drawing/2014/main" id="{75D73ABA-CA4C-4758-A70B-18788A7152E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4" name="Text Placeholder 18">
            <a:extLst>
              <a:ext uri="{FF2B5EF4-FFF2-40B4-BE49-F238E27FC236}">
                <a16:creationId xmlns:a16="http://schemas.microsoft.com/office/drawing/2014/main" id="{46C41AE2-59D8-4B49-848B-EA4CBB402683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5" name="Text Placeholder 18">
            <a:extLst>
              <a:ext uri="{FF2B5EF4-FFF2-40B4-BE49-F238E27FC236}">
                <a16:creationId xmlns:a16="http://schemas.microsoft.com/office/drawing/2014/main" id="{2220B1D5-71D2-48C3-A929-898FF8C1F57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06" name="Text Placeholder 31">
            <a:extLst>
              <a:ext uri="{FF2B5EF4-FFF2-40B4-BE49-F238E27FC236}">
                <a16:creationId xmlns:a16="http://schemas.microsoft.com/office/drawing/2014/main" id="{E2D825A0-520D-4092-8235-41A32121B04E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07" name="Text Placeholder 18">
            <a:extLst>
              <a:ext uri="{FF2B5EF4-FFF2-40B4-BE49-F238E27FC236}">
                <a16:creationId xmlns:a16="http://schemas.microsoft.com/office/drawing/2014/main" id="{22E612C7-1A1F-493A-8A38-C03F18CC687E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24428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08" name="Text Placeholder 18">
            <a:extLst>
              <a:ext uri="{FF2B5EF4-FFF2-40B4-BE49-F238E27FC236}">
                <a16:creationId xmlns:a16="http://schemas.microsoft.com/office/drawing/2014/main" id="{649F1CE4-C3CE-4985-AD3E-FC4A4AC0C2BD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4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09" name="Text Placeholder 18">
            <a:extLst>
              <a:ext uri="{FF2B5EF4-FFF2-40B4-BE49-F238E27FC236}">
                <a16:creationId xmlns:a16="http://schemas.microsoft.com/office/drawing/2014/main" id="{CB3A685A-DB20-4E5A-9F48-2108FDDDF82A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5" name="Text Placeholder 31">
            <a:extLst>
              <a:ext uri="{FF2B5EF4-FFF2-40B4-BE49-F238E27FC236}">
                <a16:creationId xmlns:a16="http://schemas.microsoft.com/office/drawing/2014/main" id="{FB61BDCE-020E-4BCF-9B3C-320CC2C9B7A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148077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26" name="Text Placeholder 18">
            <a:extLst>
              <a:ext uri="{FF2B5EF4-FFF2-40B4-BE49-F238E27FC236}">
                <a16:creationId xmlns:a16="http://schemas.microsoft.com/office/drawing/2014/main" id="{13C2CDE7-3771-468A-A640-29AA16C2853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170546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27" name="Text Placeholder 18">
            <a:extLst>
              <a:ext uri="{FF2B5EF4-FFF2-40B4-BE49-F238E27FC236}">
                <a16:creationId xmlns:a16="http://schemas.microsoft.com/office/drawing/2014/main" id="{831093BB-2135-4302-AD17-917734EC88A6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206422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28" name="Text Placeholder 18">
            <a:extLst>
              <a:ext uri="{FF2B5EF4-FFF2-40B4-BE49-F238E27FC236}">
                <a16:creationId xmlns:a16="http://schemas.microsoft.com/office/drawing/2014/main" id="{EF93369E-2C3E-4EE7-8D1D-99C239A339E3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206422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9" name="Text Placeholder 31">
            <a:extLst>
              <a:ext uri="{FF2B5EF4-FFF2-40B4-BE49-F238E27FC236}">
                <a16:creationId xmlns:a16="http://schemas.microsoft.com/office/drawing/2014/main" id="{C287AF80-AE6B-424F-8FDB-B11EF6A13FB2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01959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31" name="Text Placeholder 18">
            <a:extLst>
              <a:ext uri="{FF2B5EF4-FFF2-40B4-BE49-F238E27FC236}">
                <a16:creationId xmlns:a16="http://schemas.microsoft.com/office/drawing/2014/main" id="{61424F3E-758A-41A8-BED0-46CF7C78F3D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1" y="324428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2" name="Text Placeholder 18">
            <a:extLst>
              <a:ext uri="{FF2B5EF4-FFF2-40B4-BE49-F238E27FC236}">
                <a16:creationId xmlns:a16="http://schemas.microsoft.com/office/drawing/2014/main" id="{C48A6046-5F7C-45C3-832A-2C969ACC9C87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60304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37" name="Text Placeholder 18">
            <a:extLst>
              <a:ext uri="{FF2B5EF4-FFF2-40B4-BE49-F238E27FC236}">
                <a16:creationId xmlns:a16="http://schemas.microsoft.com/office/drawing/2014/main" id="{27D74F4C-9A89-4C62-9FBF-A53BF21FC90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60304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2" name="Text Placeholder 31">
            <a:extLst>
              <a:ext uri="{FF2B5EF4-FFF2-40B4-BE49-F238E27FC236}">
                <a16:creationId xmlns:a16="http://schemas.microsoft.com/office/drawing/2014/main" id="{BD95E687-7F93-472F-98D4-EC938AA6550F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3" name="Text Placeholder 18">
            <a:extLst>
              <a:ext uri="{FF2B5EF4-FFF2-40B4-BE49-F238E27FC236}">
                <a16:creationId xmlns:a16="http://schemas.microsoft.com/office/drawing/2014/main" id="{025B0146-CB38-42F3-839F-A26A6143E0F2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478310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4" name="Text Placeholder 18">
            <a:extLst>
              <a:ext uri="{FF2B5EF4-FFF2-40B4-BE49-F238E27FC236}">
                <a16:creationId xmlns:a16="http://schemas.microsoft.com/office/drawing/2014/main" id="{A284474C-E457-4B47-BD17-F5D8229E4172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4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5" name="Text Placeholder 18">
            <a:extLst>
              <a:ext uri="{FF2B5EF4-FFF2-40B4-BE49-F238E27FC236}">
                <a16:creationId xmlns:a16="http://schemas.microsoft.com/office/drawing/2014/main" id="{BD29F203-3EED-448C-9A44-6A9AF6E4D1AE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6" name="Text Placeholder 31">
            <a:extLst>
              <a:ext uri="{FF2B5EF4-FFF2-40B4-BE49-F238E27FC236}">
                <a16:creationId xmlns:a16="http://schemas.microsoft.com/office/drawing/2014/main" id="{37A450F0-202F-4585-8D10-F0C9C63E8342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455841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147" name="Text Placeholder 18">
            <a:extLst>
              <a:ext uri="{FF2B5EF4-FFF2-40B4-BE49-F238E27FC236}">
                <a16:creationId xmlns:a16="http://schemas.microsoft.com/office/drawing/2014/main" id="{F15D7F17-C51A-401A-B45B-C0DD68E1A185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1" y="478310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48" name="Text Placeholder 18">
            <a:extLst>
              <a:ext uri="{FF2B5EF4-FFF2-40B4-BE49-F238E27FC236}">
                <a16:creationId xmlns:a16="http://schemas.microsoft.com/office/drawing/2014/main" id="{EA613244-6AF1-4BED-B339-59144E1E2378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14186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149" name="Text Placeholder 18">
            <a:extLst>
              <a:ext uri="{FF2B5EF4-FFF2-40B4-BE49-F238E27FC236}">
                <a16:creationId xmlns:a16="http://schemas.microsoft.com/office/drawing/2014/main" id="{015CB9AD-585C-4445-80B0-B9C7F59AD015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14186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4F7EFA-6F22-4F7A-86D6-B9B9EFDEBF45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  <p:sp>
        <p:nvSpPr>
          <p:cNvPr id="29" name="Titre 3">
            <a:extLst>
              <a:ext uri="{FF2B5EF4-FFF2-40B4-BE49-F238E27FC236}">
                <a16:creationId xmlns:a16="http://schemas.microsoft.com/office/drawing/2014/main" id="{EC744315-8B20-4BBE-A882-04AFDA114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3819620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9" name="Text Placeholder 31">
            <a:extLst>
              <a:ext uri="{FF2B5EF4-FFF2-40B4-BE49-F238E27FC236}">
                <a16:creationId xmlns:a16="http://schemas.microsoft.com/office/drawing/2014/main" id="{28FBECDA-E756-436B-A2DF-561D7CBEB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7212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D29DD076-5F15-437B-BFD1-4316097E0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2165" y="170821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1" name="Text Placeholder 18">
            <a:extLst>
              <a:ext uri="{FF2B5EF4-FFF2-40B4-BE49-F238E27FC236}">
                <a16:creationId xmlns:a16="http://schemas.microsoft.com/office/drawing/2014/main" id="{2B1B91FE-791C-486B-BB38-16A0BC617D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2164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1AD460FF-7D8C-43FC-A584-F7A2A0070B2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57378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3" name="Text Placeholder 31">
            <a:extLst>
              <a:ext uri="{FF2B5EF4-FFF2-40B4-BE49-F238E27FC236}">
                <a16:creationId xmlns:a16="http://schemas.microsoft.com/office/drawing/2014/main" id="{6196209E-A760-418E-ABA2-4DD925C316F8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7212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6316DC73-28D4-4F73-B949-6F6F5D61C2F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22165" y="266828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E6BEF16F-6B19-411C-B67C-B5AA0800E01A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22164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56" name="Text Placeholder 18">
            <a:extLst>
              <a:ext uri="{FF2B5EF4-FFF2-40B4-BE49-F238E27FC236}">
                <a16:creationId xmlns:a16="http://schemas.microsoft.com/office/drawing/2014/main" id="{898B7DDA-82C5-4103-8C26-5F9811B20C9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157378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7" name="Text Placeholder 31">
            <a:extLst>
              <a:ext uri="{FF2B5EF4-FFF2-40B4-BE49-F238E27FC236}">
                <a16:creationId xmlns:a16="http://schemas.microsoft.com/office/drawing/2014/main" id="{7DA447D7-A877-45B8-B6FB-AE90751E8876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7212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58" name="Text Placeholder 18">
            <a:extLst>
              <a:ext uri="{FF2B5EF4-FFF2-40B4-BE49-F238E27FC236}">
                <a16:creationId xmlns:a16="http://schemas.microsoft.com/office/drawing/2014/main" id="{CFE91535-724D-49F0-92FE-8CAB5C480A12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122165" y="362589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3D27B957-835E-4BF0-9537-A1AC3D952B2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122164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0" name="Text Placeholder 18">
            <a:extLst>
              <a:ext uri="{FF2B5EF4-FFF2-40B4-BE49-F238E27FC236}">
                <a16:creationId xmlns:a16="http://schemas.microsoft.com/office/drawing/2014/main" id="{F84C2754-E4E9-4354-B6CB-7B5B7AA5A828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57378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1" name="Text Placeholder 31">
            <a:extLst>
              <a:ext uri="{FF2B5EF4-FFF2-40B4-BE49-F238E27FC236}">
                <a16:creationId xmlns:a16="http://schemas.microsoft.com/office/drawing/2014/main" id="{8C74BB45-5D6F-48E6-9347-96EE0CC93A2A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57212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2" name="Text Placeholder 18">
            <a:extLst>
              <a:ext uri="{FF2B5EF4-FFF2-40B4-BE49-F238E27FC236}">
                <a16:creationId xmlns:a16="http://schemas.microsoft.com/office/drawing/2014/main" id="{BCD1C6AA-1F9C-4210-9D36-274FD1A6AE79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1122165" y="458350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3" name="Text Placeholder 18">
            <a:extLst>
              <a:ext uri="{FF2B5EF4-FFF2-40B4-BE49-F238E27FC236}">
                <a16:creationId xmlns:a16="http://schemas.microsoft.com/office/drawing/2014/main" id="{D180E97C-CAF1-4493-AD31-C1A8E60EAEFF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122164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4" name="Text Placeholder 18">
            <a:extLst>
              <a:ext uri="{FF2B5EF4-FFF2-40B4-BE49-F238E27FC236}">
                <a16:creationId xmlns:a16="http://schemas.microsoft.com/office/drawing/2014/main" id="{7FE91E81-87F3-42A4-9446-8670F0C28A15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157378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5" name="Text Placeholder 31">
            <a:extLst>
              <a:ext uri="{FF2B5EF4-FFF2-40B4-BE49-F238E27FC236}">
                <a16:creationId xmlns:a16="http://schemas.microsoft.com/office/drawing/2014/main" id="{EDFC2B06-95E3-4B46-9D78-C5B889187574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5237088" y="148352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66" name="Text Placeholder 18">
            <a:extLst>
              <a:ext uri="{FF2B5EF4-FFF2-40B4-BE49-F238E27FC236}">
                <a16:creationId xmlns:a16="http://schemas.microsoft.com/office/drawing/2014/main" id="{5C8CF654-7CDC-4671-BA3F-6E43C2F3D930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802041" y="170821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67" name="Text Placeholder 18">
            <a:extLst>
              <a:ext uri="{FF2B5EF4-FFF2-40B4-BE49-F238E27FC236}">
                <a16:creationId xmlns:a16="http://schemas.microsoft.com/office/drawing/2014/main" id="{AA689F23-6793-46A5-BC3A-C3C394EB61B7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5802040" y="206697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68" name="Text Placeholder 18">
            <a:extLst>
              <a:ext uri="{FF2B5EF4-FFF2-40B4-BE49-F238E27FC236}">
                <a16:creationId xmlns:a16="http://schemas.microsoft.com/office/drawing/2014/main" id="{ED61CF7D-5129-427A-9E6A-C2D5A0108EF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3" name="Text Placeholder 18">
            <a:extLst>
              <a:ext uri="{FF2B5EF4-FFF2-40B4-BE49-F238E27FC236}">
                <a16:creationId xmlns:a16="http://schemas.microsoft.com/office/drawing/2014/main" id="{C7919060-BAE1-42EF-8A05-3D8F26EC8E7B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837254" y="206697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84" name="Text Placeholder 31">
            <a:extLst>
              <a:ext uri="{FF2B5EF4-FFF2-40B4-BE49-F238E27FC236}">
                <a16:creationId xmlns:a16="http://schemas.microsoft.com/office/drawing/2014/main" id="{DA0FFCE8-6B8A-4E0A-9547-C340275471AA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237088" y="2443594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85" name="Text Placeholder 18">
            <a:extLst>
              <a:ext uri="{FF2B5EF4-FFF2-40B4-BE49-F238E27FC236}">
                <a16:creationId xmlns:a16="http://schemas.microsoft.com/office/drawing/2014/main" id="{B46C006F-C71D-4DE1-A056-5B3A93CF50D9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802041" y="2668288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86" name="Text Placeholder 18">
            <a:extLst>
              <a:ext uri="{FF2B5EF4-FFF2-40B4-BE49-F238E27FC236}">
                <a16:creationId xmlns:a16="http://schemas.microsoft.com/office/drawing/2014/main" id="{C3771224-2466-4D8A-A811-964F73AA6409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802040" y="3027043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89" name="Text Placeholder 18">
            <a:extLst>
              <a:ext uri="{FF2B5EF4-FFF2-40B4-BE49-F238E27FC236}">
                <a16:creationId xmlns:a16="http://schemas.microsoft.com/office/drawing/2014/main" id="{76FE5254-0432-4E51-B71F-918A5A083FA8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837254" y="3027042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0" name="Text Placeholder 31">
            <a:extLst>
              <a:ext uri="{FF2B5EF4-FFF2-40B4-BE49-F238E27FC236}">
                <a16:creationId xmlns:a16="http://schemas.microsoft.com/office/drawing/2014/main" id="{77CAFDB0-A524-4811-9A5F-832074D34A45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5237088" y="3401203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1" name="Text Placeholder 18">
            <a:extLst>
              <a:ext uri="{FF2B5EF4-FFF2-40B4-BE49-F238E27FC236}">
                <a16:creationId xmlns:a16="http://schemas.microsoft.com/office/drawing/2014/main" id="{2F7D0EC5-CECB-4014-B06D-B2DBCBFBBF3D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802041" y="3625897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2" name="Text Placeholder 18">
            <a:extLst>
              <a:ext uri="{FF2B5EF4-FFF2-40B4-BE49-F238E27FC236}">
                <a16:creationId xmlns:a16="http://schemas.microsoft.com/office/drawing/2014/main" id="{8751CD9A-A0F4-4CC8-8C88-10310AE524D6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5802040" y="3984652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3" name="Text Placeholder 18">
            <a:extLst>
              <a:ext uri="{FF2B5EF4-FFF2-40B4-BE49-F238E27FC236}">
                <a16:creationId xmlns:a16="http://schemas.microsoft.com/office/drawing/2014/main" id="{26FADFFE-C225-4705-860D-DF5D47B6C04F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837254" y="3984651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94" name="Text Placeholder 31">
            <a:extLst>
              <a:ext uri="{FF2B5EF4-FFF2-40B4-BE49-F238E27FC236}">
                <a16:creationId xmlns:a16="http://schemas.microsoft.com/office/drawing/2014/main" id="{ED08C253-1799-4939-89C2-67FE0903595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5237088" y="4358812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5" name="Text Placeholder 18">
            <a:extLst>
              <a:ext uri="{FF2B5EF4-FFF2-40B4-BE49-F238E27FC236}">
                <a16:creationId xmlns:a16="http://schemas.microsoft.com/office/drawing/2014/main" id="{BA8F5A1C-3DDB-4EB6-A07B-B7ACBC8A5ACC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5802041" y="4583506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96" name="Text Placeholder 18">
            <a:extLst>
              <a:ext uri="{FF2B5EF4-FFF2-40B4-BE49-F238E27FC236}">
                <a16:creationId xmlns:a16="http://schemas.microsoft.com/office/drawing/2014/main" id="{C6330ADC-D7C7-4EFD-8348-FF37C7A173BC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5802040" y="4942261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97" name="Text Placeholder 18">
            <a:extLst>
              <a:ext uri="{FF2B5EF4-FFF2-40B4-BE49-F238E27FC236}">
                <a16:creationId xmlns:a16="http://schemas.microsoft.com/office/drawing/2014/main" id="{81AE0480-C514-4AD9-8691-694E141EE29E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8837254" y="4942260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9" name="Text Placeholder 31">
            <a:extLst>
              <a:ext uri="{FF2B5EF4-FFF2-40B4-BE49-F238E27FC236}">
                <a16:creationId xmlns:a16="http://schemas.microsoft.com/office/drawing/2014/main" id="{7268FDA8-F92E-4936-B990-FD4E9F0CC01D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57212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37FDC6EC-A640-488F-9644-3FDD22493BD3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122165" y="5540673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1873EAFB-A062-4833-B06F-62FD2E7C3DF9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122164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2" name="Text Placeholder 18">
            <a:extLst>
              <a:ext uri="{FF2B5EF4-FFF2-40B4-BE49-F238E27FC236}">
                <a16:creationId xmlns:a16="http://schemas.microsoft.com/office/drawing/2014/main" id="{EE221A43-C270-4544-94DF-1ABABF451BBD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4157378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3" name="Text Placeholder 31">
            <a:extLst>
              <a:ext uri="{FF2B5EF4-FFF2-40B4-BE49-F238E27FC236}">
                <a16:creationId xmlns:a16="http://schemas.microsoft.com/office/drawing/2014/main" id="{9D8E4515-6F96-4F02-B988-811445E2351C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5237088" y="5315979"/>
            <a:ext cx="433388" cy="533396"/>
          </a:xfrm>
          <a:solidFill>
            <a:schemeClr val="accent1"/>
          </a:solidFill>
        </p:spPr>
        <p:txBody>
          <a:bodyPr tIns="205200" anchor="t"/>
          <a:lstStyle>
            <a:lvl1pPr marL="0" algn="ctr">
              <a:spcBef>
                <a:spcPts val="981"/>
              </a:spcBef>
              <a:defRPr b="1" spc="-61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A17A929F-E044-48C5-9DD8-B47C3EF2AE1C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5802041" y="5540673"/>
            <a:ext cx="3412926" cy="248579"/>
          </a:xfrm>
        </p:spPr>
        <p:txBody>
          <a:bodyPr wrap="square" tIns="14400" anchor="b">
            <a:spAutoFit/>
          </a:bodyPr>
          <a:lstStyle>
            <a:lvl1pPr marL="8775">
              <a:spcBef>
                <a:spcPts val="61"/>
              </a:spcBef>
              <a:defRPr sz="1524" b="0">
                <a:solidFill>
                  <a:schemeClr val="tx2"/>
                </a:solidFill>
                <a:latin typeface="+mj-lt"/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5" name="Text Placeholder 18">
            <a:extLst>
              <a:ext uri="{FF2B5EF4-FFF2-40B4-BE49-F238E27FC236}">
                <a16:creationId xmlns:a16="http://schemas.microsoft.com/office/drawing/2014/main" id="{5D5ECF6A-91FB-4513-9425-F01C4C10BAB1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5802040" y="5899428"/>
            <a:ext cx="2965562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2F7DB677-C811-448B-9E9D-A05B83375084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837254" y="5899427"/>
            <a:ext cx="377713" cy="173880"/>
          </a:xfrm>
          <a:noFill/>
        </p:spPr>
        <p:txBody>
          <a:bodyPr wrap="square" tIns="14400" rIns="108000">
            <a:spAutoFit/>
          </a:bodyPr>
          <a:lstStyle>
            <a:lvl1pPr marL="8775">
              <a:lnSpc>
                <a:spcPct val="128000"/>
              </a:lnSpc>
              <a:spcBef>
                <a:spcPts val="61"/>
              </a:spcBef>
              <a:defRPr sz="914">
                <a:solidFill>
                  <a:schemeClr val="tx2"/>
                </a:solidFill>
              </a:defRPr>
            </a:lvl1pPr>
            <a:lvl2pPr>
              <a:defRPr sz="914">
                <a:solidFill>
                  <a:schemeClr val="accent3"/>
                </a:solidFill>
              </a:defRPr>
            </a:lvl2pPr>
            <a:lvl3pPr>
              <a:defRPr sz="792"/>
            </a:lvl3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3DF68-D79F-4DB1-B4FD-A39341DF1E94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  <p:sp>
        <p:nvSpPr>
          <p:cNvPr id="47" name="Titre 3">
            <a:extLst>
              <a:ext uri="{FF2B5EF4-FFF2-40B4-BE49-F238E27FC236}">
                <a16:creationId xmlns:a16="http://schemas.microsoft.com/office/drawing/2014/main" id="{44057687-C51E-48EF-8ABC-CF8D8466D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80" y="697701"/>
            <a:ext cx="7324075" cy="771656"/>
          </a:xfrm>
          <a:prstGeom prst="rect">
            <a:avLst/>
          </a:prstGeom>
        </p:spPr>
        <p:txBody>
          <a:bodyPr lIns="0" tIns="0" rIns="0" bIns="0"/>
          <a:lstStyle>
            <a:lvl1pPr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5730361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4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rgbClr val="005473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0403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" descr="img_meia_puzzl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67301"/>
            <a:ext cx="9906000" cy="17983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3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0336" y="6093107"/>
            <a:ext cx="784356" cy="525600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073099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469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F8E80-3E00-4293-AA10-F1AF0AB1D9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8824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tx2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2" name="Holder 2">
            <a:extLst>
              <a:ext uri="{FF2B5EF4-FFF2-40B4-BE49-F238E27FC236}">
                <a16:creationId xmlns:a16="http://schemas.microsoft.com/office/drawing/2014/main" id="{85B5B0C2-1E62-4343-9450-2B0AC120F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243129-780B-4E39-9EAF-CD2ED887D3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84525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Sub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4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51128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1E27FD28-384C-49C5-8B58-E9BD162E8CEB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D658198-6E69-4296-BD01-49F0474343E5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76A93DBD-7AD0-4E6B-85F7-D5A7E6BA4DEB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2E17A-B074-4992-808F-54F62E79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3986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 +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older 2">
            <a:extLst>
              <a:ext uri="{FF2B5EF4-FFF2-40B4-BE49-F238E27FC236}">
                <a16:creationId xmlns:a16="http://schemas.microsoft.com/office/drawing/2014/main" id="{76858CF1-1FE0-48C5-9C43-47EFD7F92F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0600" y="1371600"/>
            <a:ext cx="5572125" cy="3429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00.Subheading</a:t>
            </a:r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1ABED16D-E05F-4052-AFDC-7D0B069E48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B56387-D400-4873-990C-66F86EBA3E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9EE1458B-1ACC-4A60-A6DA-3A183AD4A703}"/>
              </a:ext>
            </a:extLst>
          </p:cNvPr>
          <p:cNvSpPr/>
          <p:nvPr userDrawn="1"/>
        </p:nvSpPr>
        <p:spPr>
          <a:xfrm>
            <a:off x="6005513" y="6857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C14AF817-4FA3-4511-BF85-552078C6E679}"/>
              </a:ext>
            </a:extLst>
          </p:cNvPr>
          <p:cNvSpPr/>
          <p:nvPr userDrawn="1"/>
        </p:nvSpPr>
        <p:spPr>
          <a:xfrm>
            <a:off x="434524" y="4800600"/>
            <a:ext cx="556439" cy="684848"/>
          </a:xfrm>
          <a:custGeom>
            <a:avLst/>
            <a:gdLst/>
            <a:ahLst/>
            <a:cxnLst/>
            <a:rect l="l" t="t" r="r" b="b"/>
            <a:pathLst>
              <a:path w="913130" h="913129">
                <a:moveTo>
                  <a:pt x="912533" y="0"/>
                </a:moveTo>
                <a:lnTo>
                  <a:pt x="0" y="0"/>
                </a:lnTo>
                <a:lnTo>
                  <a:pt x="0" y="912533"/>
                </a:lnTo>
                <a:lnTo>
                  <a:pt x="912533" y="912533"/>
                </a:lnTo>
                <a:lnTo>
                  <a:pt x="912533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C87F872C-9C1D-4419-83CD-C89DB3A9AD0E}"/>
              </a:ext>
            </a:extLst>
          </p:cNvPr>
          <p:cNvSpPr/>
          <p:nvPr userDrawn="1"/>
        </p:nvSpPr>
        <p:spPr>
          <a:xfrm>
            <a:off x="8791575" y="4114800"/>
            <a:ext cx="1112490" cy="1370648"/>
          </a:xfrm>
          <a:custGeom>
            <a:avLst/>
            <a:gdLst/>
            <a:ahLst/>
            <a:cxnLst/>
            <a:rect l="l" t="t" r="r" b="b"/>
            <a:pathLst>
              <a:path w="1825625" h="1827529">
                <a:moveTo>
                  <a:pt x="912533" y="914400"/>
                </a:moveTo>
                <a:lnTo>
                  <a:pt x="0" y="914400"/>
                </a:lnTo>
                <a:lnTo>
                  <a:pt x="0" y="1826933"/>
                </a:lnTo>
                <a:lnTo>
                  <a:pt x="912533" y="1826933"/>
                </a:lnTo>
                <a:lnTo>
                  <a:pt x="912533" y="914400"/>
                </a:lnTo>
                <a:close/>
              </a:path>
              <a:path w="1825625" h="1827529">
                <a:moveTo>
                  <a:pt x="1825066" y="0"/>
                </a:moveTo>
                <a:lnTo>
                  <a:pt x="912533" y="0"/>
                </a:lnTo>
                <a:lnTo>
                  <a:pt x="912533" y="912533"/>
                </a:lnTo>
                <a:lnTo>
                  <a:pt x="1825066" y="912533"/>
                </a:lnTo>
                <a:lnTo>
                  <a:pt x="1825066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</p:spTree>
    <p:extLst>
      <p:ext uri="{BB962C8B-B14F-4D97-AF65-F5344CB8AC3E}">
        <p14:creationId xmlns:p14="http://schemas.microsoft.com/office/powerpoint/2010/main" val="29805990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422106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074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8123-F90C-482A-B61B-A26D8CF8D6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9473" y="1989474"/>
            <a:ext cx="8694148" cy="1372477"/>
          </a:xfrm>
        </p:spPr>
        <p:txBody>
          <a:bodyPr wrap="square">
            <a:spAutoFit/>
          </a:bodyPr>
          <a:lstStyle>
            <a:lvl1pPr marL="110286" indent="-120661"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/>
            </a:lvl1pPr>
            <a:lvl2pPr marL="175507" indent="-120661">
              <a:buFont typeface="Wingdings" panose="05000000000000000000" pitchFamily="2" charset="2"/>
              <a:buChar char="§"/>
              <a:defRPr/>
            </a:lvl2pPr>
            <a:lvl3pPr marL="241322" indent="-119960">
              <a:buClr>
                <a:srgbClr val="005473"/>
              </a:buClr>
              <a:buFont typeface="Wingdings" panose="05000000000000000000" pitchFamily="2" charset="2"/>
              <a:buChar char="§"/>
              <a:defRPr/>
            </a:lvl3pPr>
            <a:lvl4pPr marL="307138" indent="-109692">
              <a:defRPr sz="914">
                <a:solidFill>
                  <a:schemeClr val="tx2"/>
                </a:solidFill>
              </a:defRPr>
            </a:lvl4pPr>
            <a:lvl5pPr marL="372953" indent="-120661"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0DC21-46FB-495D-89FC-BAF7F7314A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7596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146CF11-ED2C-4591-88BE-369AC6EB33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23868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2ED684-1935-43C9-97F6-75241759244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3815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1832D763-A691-4EC4-9C13-3AFE8C77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65735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32815573-BF96-4315-998A-9A2D6B6189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1995" y="1989474"/>
            <a:ext cx="2566789" cy="1441779"/>
          </a:xfrm>
        </p:spPr>
        <p:txBody>
          <a:bodyPr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7E27E1-2C18-42F3-914E-B1AF02DA0F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62517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48C2F0-8F0D-4C02-9F19-6DF2108E0F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759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+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047226"/>
            <a:ext cx="9906000" cy="1810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433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erne - DIG - Présentation Outils B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1AE67-A6AF-4140-9B54-D4B451EC2AAF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4965701"/>
            <a:ext cx="9906000" cy="1016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073099" y="1248355"/>
            <a:ext cx="4189236" cy="344370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defRPr sz="2000"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225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A6FBA34-91D9-42CD-A3FE-DC53ABE99F6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31606" y="2057400"/>
            <a:ext cx="4117181" cy="4102899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473" y="1989474"/>
            <a:ext cx="4039791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BF8A56-100E-4902-968B-3CDFE43D67D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88148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5755A9E-B5F9-42B8-A663-09F0B19A19E0}"/>
              </a:ext>
            </a:extLst>
          </p:cNvPr>
          <p:cNvSpPr/>
          <p:nvPr userDrawn="1"/>
        </p:nvSpPr>
        <p:spPr>
          <a:xfrm>
            <a:off x="0" y="0"/>
            <a:ext cx="32194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1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3DC93F4-A945-42B6-9692-126B44277D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219450" cy="6857999"/>
          </a:xfrm>
          <a:custGeom>
            <a:avLst/>
            <a:gdLst>
              <a:gd name="connsiteX0" fmla="*/ 0 w 5283200"/>
              <a:gd name="connsiteY0" fmla="*/ 0 h 9143998"/>
              <a:gd name="connsiteX1" fmla="*/ 3454400 w 5283200"/>
              <a:gd name="connsiteY1" fmla="*/ 0 h 9143998"/>
              <a:gd name="connsiteX2" fmla="*/ 3454400 w 5283200"/>
              <a:gd name="connsiteY2" fmla="*/ 914400 h 9143998"/>
              <a:gd name="connsiteX3" fmla="*/ 4368800 w 5283200"/>
              <a:gd name="connsiteY3" fmla="*/ 914400 h 9143998"/>
              <a:gd name="connsiteX4" fmla="*/ 4368800 w 5283200"/>
              <a:gd name="connsiteY4" fmla="*/ 1828800 h 9143998"/>
              <a:gd name="connsiteX5" fmla="*/ 5283200 w 5283200"/>
              <a:gd name="connsiteY5" fmla="*/ 1828800 h 9143998"/>
              <a:gd name="connsiteX6" fmla="*/ 5283200 w 5283200"/>
              <a:gd name="connsiteY6" fmla="*/ 9143998 h 9143998"/>
              <a:gd name="connsiteX7" fmla="*/ 0 w 5283200"/>
              <a:gd name="connsiteY7" fmla="*/ 9143998 h 9143998"/>
              <a:gd name="connsiteX8" fmla="*/ 0 w 5283200"/>
              <a:gd name="connsiteY8" fmla="*/ 9143403 h 9143998"/>
              <a:gd name="connsiteX9" fmla="*/ 912533 w 5283200"/>
              <a:gd name="connsiteY9" fmla="*/ 9143403 h 9143998"/>
              <a:gd name="connsiteX10" fmla="*/ 912533 w 5283200"/>
              <a:gd name="connsiteY10" fmla="*/ 8230869 h 9143998"/>
              <a:gd name="connsiteX11" fmla="*/ 0 w 5283200"/>
              <a:gd name="connsiteY11" fmla="*/ 8230869 h 9143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83200" h="9143998">
                <a:moveTo>
                  <a:pt x="0" y="0"/>
                </a:moveTo>
                <a:lnTo>
                  <a:pt x="3454400" y="0"/>
                </a:lnTo>
                <a:lnTo>
                  <a:pt x="3454400" y="914400"/>
                </a:lnTo>
                <a:lnTo>
                  <a:pt x="4368800" y="914400"/>
                </a:lnTo>
                <a:lnTo>
                  <a:pt x="4368800" y="1828800"/>
                </a:lnTo>
                <a:lnTo>
                  <a:pt x="5283200" y="1828800"/>
                </a:lnTo>
                <a:lnTo>
                  <a:pt x="5283200" y="9143998"/>
                </a:lnTo>
                <a:lnTo>
                  <a:pt x="0" y="9143998"/>
                </a:lnTo>
                <a:lnTo>
                  <a:pt x="0" y="9143403"/>
                </a:lnTo>
                <a:lnTo>
                  <a:pt x="912533" y="9143403"/>
                </a:lnTo>
                <a:lnTo>
                  <a:pt x="912533" y="8230869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3" y="697701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41779"/>
          </a:xfrm>
        </p:spPr>
        <p:txBody>
          <a:bodyPr wrap="square">
            <a:spAutoFit/>
          </a:bodyPr>
          <a:lstStyle>
            <a:lvl1pPr>
              <a:defRPr sz="146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7222AF-D59D-4EB8-BA6C-7217DC9168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6397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E4A3B4F-5311-4EE8-988B-706C2D0D244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219450" cy="6858000"/>
          </a:xfrm>
          <a:custGeom>
            <a:avLst/>
            <a:gdLst>
              <a:gd name="connsiteX0" fmla="*/ 0 w 5283200"/>
              <a:gd name="connsiteY0" fmla="*/ 0 h 9144000"/>
              <a:gd name="connsiteX1" fmla="*/ 3454400 w 5283200"/>
              <a:gd name="connsiteY1" fmla="*/ 0 h 9144000"/>
              <a:gd name="connsiteX2" fmla="*/ 5283200 w 5283200"/>
              <a:gd name="connsiteY2" fmla="*/ 0 h 9144000"/>
              <a:gd name="connsiteX3" fmla="*/ 5283200 w 5283200"/>
              <a:gd name="connsiteY3" fmla="*/ 1828800 h 9144000"/>
              <a:gd name="connsiteX4" fmla="*/ 5283200 w 5283200"/>
              <a:gd name="connsiteY4" fmla="*/ 3657599 h 9144000"/>
              <a:gd name="connsiteX5" fmla="*/ 4368800 w 5283200"/>
              <a:gd name="connsiteY5" fmla="*/ 3657599 h 9144000"/>
              <a:gd name="connsiteX6" fmla="*/ 4368800 w 5283200"/>
              <a:gd name="connsiteY6" fmla="*/ 4571999 h 9144000"/>
              <a:gd name="connsiteX7" fmla="*/ 3454400 w 5283200"/>
              <a:gd name="connsiteY7" fmla="*/ 4571999 h 9144000"/>
              <a:gd name="connsiteX8" fmla="*/ 3454400 w 5283200"/>
              <a:gd name="connsiteY8" fmla="*/ 5486399 h 9144000"/>
              <a:gd name="connsiteX9" fmla="*/ 4368800 w 5283200"/>
              <a:gd name="connsiteY9" fmla="*/ 5486399 h 9144000"/>
              <a:gd name="connsiteX10" fmla="*/ 4368800 w 5283200"/>
              <a:gd name="connsiteY10" fmla="*/ 4571999 h 9144000"/>
              <a:gd name="connsiteX11" fmla="*/ 5283200 w 5283200"/>
              <a:gd name="connsiteY11" fmla="*/ 4571999 h 9144000"/>
              <a:gd name="connsiteX12" fmla="*/ 5283200 w 5283200"/>
              <a:gd name="connsiteY12" fmla="*/ 9143998 h 9144000"/>
              <a:gd name="connsiteX13" fmla="*/ 5283200 w 5283200"/>
              <a:gd name="connsiteY13" fmla="*/ 9144000 h 9144000"/>
              <a:gd name="connsiteX14" fmla="*/ 0 w 5283200"/>
              <a:gd name="connsiteY14" fmla="*/ 9144000 h 9144000"/>
              <a:gd name="connsiteX15" fmla="*/ 0 w 5283200"/>
              <a:gd name="connsiteY15" fmla="*/ 9143998 h 9144000"/>
              <a:gd name="connsiteX16" fmla="*/ 0 w 5283200"/>
              <a:gd name="connsiteY16" fmla="*/ 9143403 h 9144000"/>
              <a:gd name="connsiteX17" fmla="*/ 0 w 5283200"/>
              <a:gd name="connsiteY17" fmla="*/ 8230869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283200" h="9144000">
                <a:moveTo>
                  <a:pt x="0" y="0"/>
                </a:moveTo>
                <a:lnTo>
                  <a:pt x="3454400" y="0"/>
                </a:lnTo>
                <a:lnTo>
                  <a:pt x="5283200" y="0"/>
                </a:lnTo>
                <a:lnTo>
                  <a:pt x="5283200" y="1828800"/>
                </a:lnTo>
                <a:lnTo>
                  <a:pt x="5283200" y="3657599"/>
                </a:lnTo>
                <a:lnTo>
                  <a:pt x="4368800" y="3657599"/>
                </a:lnTo>
                <a:lnTo>
                  <a:pt x="4368800" y="4571999"/>
                </a:lnTo>
                <a:lnTo>
                  <a:pt x="3454400" y="4571999"/>
                </a:lnTo>
                <a:lnTo>
                  <a:pt x="3454400" y="5486399"/>
                </a:lnTo>
                <a:lnTo>
                  <a:pt x="4368800" y="5486399"/>
                </a:lnTo>
                <a:lnTo>
                  <a:pt x="4368800" y="4571999"/>
                </a:lnTo>
                <a:lnTo>
                  <a:pt x="5283200" y="4571999"/>
                </a:lnTo>
                <a:lnTo>
                  <a:pt x="5283200" y="9143998"/>
                </a:lnTo>
                <a:lnTo>
                  <a:pt x="5283200" y="9144000"/>
                </a:lnTo>
                <a:lnTo>
                  <a:pt x="0" y="9144000"/>
                </a:lnTo>
                <a:lnTo>
                  <a:pt x="0" y="9143998"/>
                </a:lnTo>
                <a:lnTo>
                  <a:pt x="0" y="9143403"/>
                </a:lnTo>
                <a:lnTo>
                  <a:pt x="0" y="82308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975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923" y="697701"/>
            <a:ext cx="4341614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8924" y="1989474"/>
            <a:ext cx="5492026" cy="1441779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0B7646-0E4D-436E-80FB-4FABC82744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944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8">
            <a:extLst>
              <a:ext uri="{FF2B5EF4-FFF2-40B4-BE49-F238E27FC236}">
                <a16:creationId xmlns:a16="http://schemas.microsoft.com/office/drawing/2014/main" id="{C8E13DE4-5314-44E1-9E54-71B64E53C8D6}"/>
              </a:ext>
            </a:extLst>
          </p:cNvPr>
          <p:cNvSpPr/>
          <p:nvPr userDrawn="1"/>
        </p:nvSpPr>
        <p:spPr>
          <a:xfrm>
            <a:off x="3219450" y="4114800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720633-DD1E-4523-BB30-553B519950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33875" y="2743200"/>
            <a:ext cx="5014913" cy="3428999"/>
          </a:xfrm>
          <a:solidFill>
            <a:schemeClr val="bg1"/>
          </a:solidFill>
        </p:spPr>
        <p:txBody>
          <a:bodyPr wrap="square" lIns="378000" tIns="39600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Text level 2</a:t>
            </a:r>
          </a:p>
          <a:p>
            <a:pPr lvl="2"/>
            <a:r>
              <a:rPr lang="en-US" dirty="0"/>
              <a:t>Text level 3</a:t>
            </a:r>
          </a:p>
          <a:p>
            <a:pPr lvl="3"/>
            <a:r>
              <a:rPr lang="en-US" dirty="0"/>
              <a:t>Text level 4</a:t>
            </a:r>
          </a:p>
          <a:p>
            <a:pPr lvl="4"/>
            <a:r>
              <a:rPr lang="en-US" dirty="0"/>
              <a:t>Text level 5</a:t>
            </a:r>
          </a:p>
        </p:txBody>
      </p:sp>
      <p:pic>
        <p:nvPicPr>
          <p:cNvPr id="5" name="Graphique 30">
            <a:extLst>
              <a:ext uri="{FF2B5EF4-FFF2-40B4-BE49-F238E27FC236}">
                <a16:creationId xmlns:a16="http://schemas.microsoft.com/office/drawing/2014/main" id="{E0424D29-3A81-4B93-B976-4CFAA6EE35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992156-85B6-4A34-BE33-8131FE99998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24193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EF77F270-8CFB-499A-AA4C-F3D2883DA5B5}"/>
              </a:ext>
            </a:extLst>
          </p:cNvPr>
          <p:cNvSpPr/>
          <p:nvPr userDrawn="1"/>
        </p:nvSpPr>
        <p:spPr>
          <a:xfrm>
            <a:off x="990600" y="6858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3EC24377-EFF4-42AC-8D18-062DAB804EFF}"/>
              </a:ext>
            </a:extLst>
          </p:cNvPr>
          <p:cNvSpPr/>
          <p:nvPr userDrawn="1"/>
        </p:nvSpPr>
        <p:spPr>
          <a:xfrm>
            <a:off x="6005513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18288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33BA6225-A317-475E-A047-60CD68659F89}"/>
              </a:ext>
            </a:extLst>
          </p:cNvPr>
          <p:cNvSpPr/>
          <p:nvPr userDrawn="1"/>
        </p:nvSpPr>
        <p:spPr>
          <a:xfrm>
            <a:off x="3219450" y="5486400"/>
            <a:ext cx="1671638" cy="1371600"/>
          </a:xfrm>
          <a:custGeom>
            <a:avLst/>
            <a:gdLst/>
            <a:ahLst/>
            <a:cxnLst/>
            <a:rect l="l" t="t" r="r" b="b"/>
            <a:pathLst>
              <a:path w="2743200" h="1828800">
                <a:moveTo>
                  <a:pt x="18288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1828800" y="1828800"/>
                </a:lnTo>
                <a:lnTo>
                  <a:pt x="1828800" y="914400"/>
                </a:lnTo>
                <a:close/>
              </a:path>
              <a:path w="2743200" h="1828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91" name="Text Placeholder 31">
            <a:extLst>
              <a:ext uri="{FF2B5EF4-FFF2-40B4-BE49-F238E27FC236}">
                <a16:creationId xmlns:a16="http://schemas.microsoft.com/office/drawing/2014/main" id="{75989EAC-FFE2-4FF1-A7A7-8C9AEDCF49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47812" y="1371600"/>
            <a:ext cx="557213" cy="685794"/>
          </a:xfrm>
          <a:solidFill>
            <a:schemeClr val="accent1"/>
          </a:solidFill>
        </p:spPr>
        <p:txBody>
          <a:bodyPr tIns="216000" anchor="t">
            <a:normAutofit/>
          </a:bodyPr>
          <a:lstStyle>
            <a:lvl1pPr marL="0" algn="ctr">
              <a:spcBef>
                <a:spcPts val="1036"/>
              </a:spcBef>
              <a:defRPr sz="2438" b="1" spc="-98" baseline="0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latin typeface="+mj-lt"/>
              </a:defRPr>
            </a:lvl2pPr>
            <a:lvl3pPr algn="ctr">
              <a:defRPr>
                <a:latin typeface="+mj-lt"/>
              </a:defRPr>
            </a:lvl3pPr>
            <a:lvl4pPr algn="ctr">
              <a:defRPr>
                <a:latin typeface="+mj-lt"/>
              </a:defRPr>
            </a:lvl4pPr>
            <a:lvl5pPr algn="ctr">
              <a:defRPr>
                <a:latin typeface="+mj-lt"/>
              </a:defRPr>
            </a:lvl5pPr>
          </a:lstStyle>
          <a:p>
            <a:pPr lvl="0"/>
            <a:r>
              <a:rPr lang="fr-FR" dirty="0"/>
              <a:t>00</a:t>
            </a:r>
            <a:endParaRPr lang="en-US" dirty="0"/>
          </a:p>
        </p:txBody>
      </p:sp>
      <p:sp>
        <p:nvSpPr>
          <p:cNvPr id="94" name="Holder 2">
            <a:extLst>
              <a:ext uri="{FF2B5EF4-FFF2-40B4-BE49-F238E27FC236}">
                <a16:creationId xmlns:a16="http://schemas.microsoft.com/office/drawing/2014/main" id="{64CEAEAC-18E4-4C17-AC4D-0753A4EA64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05025" y="2057394"/>
            <a:ext cx="4457700" cy="2743200"/>
          </a:xfrm>
          <a:prstGeom prst="rect">
            <a:avLst/>
          </a:prstGeom>
          <a:noFill/>
        </p:spPr>
        <p:txBody>
          <a:bodyPr wrap="square" lIns="0" tIns="410400" rIns="0" bIns="0">
            <a:noAutofit/>
          </a:bodyPr>
          <a:lstStyle>
            <a:lvl1pPr marL="232547" algn="l">
              <a:spcBef>
                <a:spcPts val="1965"/>
              </a:spcBef>
              <a:defRPr sz="2742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FC103ADA-D47B-4E9B-AEDE-C787C53F5E3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37197" y="3895801"/>
            <a:ext cx="1143446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8EF4B44C-FC5F-4865-A2CA-6AD146697A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87416" y="3895801"/>
            <a:ext cx="1143446" cy="488156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132F59FA-5C54-4BEE-A151-61D1A5F550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47991" y="3802008"/>
            <a:ext cx="594604" cy="675798"/>
          </a:xfr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AF6ED36D-FDAC-4123-A48A-812DD31A9EE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0086" y="3764498"/>
            <a:ext cx="609863" cy="7506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792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BD0662-49C5-48D6-8BC7-54C5A23568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9705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5" name="object 2">
            <a:extLst>
              <a:ext uri="{FF2B5EF4-FFF2-40B4-BE49-F238E27FC236}">
                <a16:creationId xmlns:a16="http://schemas.microsoft.com/office/drawing/2014/main" id="{31C329BC-FFDC-4CD3-ABE4-D824343B7B3C}"/>
              </a:ext>
            </a:extLst>
          </p:cNvPr>
          <p:cNvSpPr/>
          <p:nvPr userDrawn="1"/>
        </p:nvSpPr>
        <p:spPr>
          <a:xfrm>
            <a:off x="8408712" y="739971"/>
            <a:ext cx="765780" cy="69056"/>
          </a:xfrm>
          <a:custGeom>
            <a:avLst/>
            <a:gdLst/>
            <a:ahLst/>
            <a:cxnLst/>
            <a:rect l="l" t="t" r="r" b="b"/>
            <a:pathLst>
              <a:path w="1256665" h="92075">
                <a:moveTo>
                  <a:pt x="1158062" y="19088"/>
                </a:moveTo>
                <a:lnTo>
                  <a:pt x="1141564" y="19088"/>
                </a:lnTo>
                <a:lnTo>
                  <a:pt x="1164450" y="69951"/>
                </a:lnTo>
                <a:lnTo>
                  <a:pt x="1184147" y="69951"/>
                </a:lnTo>
                <a:lnTo>
                  <a:pt x="1189028" y="58381"/>
                </a:lnTo>
                <a:lnTo>
                  <a:pt x="1174737" y="58381"/>
                </a:lnTo>
                <a:lnTo>
                  <a:pt x="1158062" y="19088"/>
                </a:lnTo>
                <a:close/>
              </a:path>
              <a:path w="1256665" h="92075">
                <a:moveTo>
                  <a:pt x="1214012" y="34544"/>
                </a:moveTo>
                <a:lnTo>
                  <a:pt x="1199083" y="34544"/>
                </a:lnTo>
                <a:lnTo>
                  <a:pt x="1214005" y="69951"/>
                </a:lnTo>
                <a:lnTo>
                  <a:pt x="1233703" y="69951"/>
                </a:lnTo>
                <a:lnTo>
                  <a:pt x="1238949" y="58293"/>
                </a:lnTo>
                <a:lnTo>
                  <a:pt x="1223429" y="58293"/>
                </a:lnTo>
                <a:lnTo>
                  <a:pt x="1214012" y="34544"/>
                </a:lnTo>
                <a:close/>
              </a:path>
              <a:path w="1256665" h="92075">
                <a:moveTo>
                  <a:pt x="1207884" y="19088"/>
                </a:moveTo>
                <a:lnTo>
                  <a:pt x="1190269" y="19088"/>
                </a:lnTo>
                <a:lnTo>
                  <a:pt x="1174737" y="58381"/>
                </a:lnTo>
                <a:lnTo>
                  <a:pt x="1189028" y="58381"/>
                </a:lnTo>
                <a:lnTo>
                  <a:pt x="1199083" y="34544"/>
                </a:lnTo>
                <a:lnTo>
                  <a:pt x="1214012" y="34544"/>
                </a:lnTo>
                <a:lnTo>
                  <a:pt x="1207884" y="19088"/>
                </a:lnTo>
                <a:close/>
              </a:path>
              <a:path w="1256665" h="92075">
                <a:moveTo>
                  <a:pt x="1256588" y="19088"/>
                </a:moveTo>
                <a:lnTo>
                  <a:pt x="1240091" y="19088"/>
                </a:lnTo>
                <a:lnTo>
                  <a:pt x="1223429" y="58293"/>
                </a:lnTo>
                <a:lnTo>
                  <a:pt x="1238949" y="58293"/>
                </a:lnTo>
                <a:lnTo>
                  <a:pt x="1256588" y="19088"/>
                </a:lnTo>
                <a:close/>
              </a:path>
              <a:path w="1256665" h="92075">
                <a:moveTo>
                  <a:pt x="1104366" y="18224"/>
                </a:moveTo>
                <a:lnTo>
                  <a:pt x="1089978" y="19704"/>
                </a:lnTo>
                <a:lnTo>
                  <a:pt x="1078855" y="24364"/>
                </a:lnTo>
                <a:lnTo>
                  <a:pt x="1071680" y="32540"/>
                </a:lnTo>
                <a:lnTo>
                  <a:pt x="1069136" y="44564"/>
                </a:lnTo>
                <a:lnTo>
                  <a:pt x="1071680" y="56531"/>
                </a:lnTo>
                <a:lnTo>
                  <a:pt x="1078855" y="64681"/>
                </a:lnTo>
                <a:lnTo>
                  <a:pt x="1089978" y="69335"/>
                </a:lnTo>
                <a:lnTo>
                  <a:pt x="1104366" y="70815"/>
                </a:lnTo>
                <a:lnTo>
                  <a:pt x="1118724" y="69335"/>
                </a:lnTo>
                <a:lnTo>
                  <a:pt x="1129855" y="64681"/>
                </a:lnTo>
                <a:lnTo>
                  <a:pt x="1135351" y="58458"/>
                </a:lnTo>
                <a:lnTo>
                  <a:pt x="1090637" y="58458"/>
                </a:lnTo>
                <a:lnTo>
                  <a:pt x="1083906" y="55092"/>
                </a:lnTo>
                <a:lnTo>
                  <a:pt x="1083906" y="33934"/>
                </a:lnTo>
                <a:lnTo>
                  <a:pt x="1090637" y="30568"/>
                </a:lnTo>
                <a:lnTo>
                  <a:pt x="1135317" y="30568"/>
                </a:lnTo>
                <a:lnTo>
                  <a:pt x="1129855" y="24364"/>
                </a:lnTo>
                <a:lnTo>
                  <a:pt x="1118724" y="19704"/>
                </a:lnTo>
                <a:lnTo>
                  <a:pt x="1104366" y="18224"/>
                </a:lnTo>
                <a:close/>
              </a:path>
              <a:path w="1256665" h="92075">
                <a:moveTo>
                  <a:pt x="1135317" y="30568"/>
                </a:moveTo>
                <a:lnTo>
                  <a:pt x="1118019" y="30568"/>
                </a:lnTo>
                <a:lnTo>
                  <a:pt x="1124750" y="33934"/>
                </a:lnTo>
                <a:lnTo>
                  <a:pt x="1124750" y="55092"/>
                </a:lnTo>
                <a:lnTo>
                  <a:pt x="1118019" y="58458"/>
                </a:lnTo>
                <a:lnTo>
                  <a:pt x="1135351" y="58458"/>
                </a:lnTo>
                <a:lnTo>
                  <a:pt x="1137052" y="56531"/>
                </a:lnTo>
                <a:lnTo>
                  <a:pt x="1139609" y="44564"/>
                </a:lnTo>
                <a:lnTo>
                  <a:pt x="1137052" y="32540"/>
                </a:lnTo>
                <a:lnTo>
                  <a:pt x="1135317" y="30568"/>
                </a:lnTo>
                <a:close/>
              </a:path>
              <a:path w="1256665" h="92075">
                <a:moveTo>
                  <a:pt x="1058354" y="863"/>
                </a:moveTo>
                <a:lnTo>
                  <a:pt x="1043584" y="863"/>
                </a:lnTo>
                <a:lnTo>
                  <a:pt x="1043584" y="69951"/>
                </a:lnTo>
                <a:lnTo>
                  <a:pt x="1058354" y="69951"/>
                </a:lnTo>
                <a:lnTo>
                  <a:pt x="1058354" y="863"/>
                </a:lnTo>
                <a:close/>
              </a:path>
              <a:path w="1256665" h="92075">
                <a:moveTo>
                  <a:pt x="1011313" y="31432"/>
                </a:moveTo>
                <a:lnTo>
                  <a:pt x="996467" y="31432"/>
                </a:lnTo>
                <a:lnTo>
                  <a:pt x="996467" y="69951"/>
                </a:lnTo>
                <a:lnTo>
                  <a:pt x="1011313" y="69951"/>
                </a:lnTo>
                <a:lnTo>
                  <a:pt x="1011313" y="31432"/>
                </a:lnTo>
                <a:close/>
              </a:path>
              <a:path w="1256665" h="92075">
                <a:moveTo>
                  <a:pt x="1032814" y="19088"/>
                </a:moveTo>
                <a:lnTo>
                  <a:pt x="983081" y="19088"/>
                </a:lnTo>
                <a:lnTo>
                  <a:pt x="983081" y="31432"/>
                </a:lnTo>
                <a:lnTo>
                  <a:pt x="1032814" y="31432"/>
                </a:lnTo>
                <a:lnTo>
                  <a:pt x="1032814" y="19088"/>
                </a:lnTo>
                <a:close/>
              </a:path>
              <a:path w="1256665" h="92075">
                <a:moveTo>
                  <a:pt x="1025296" y="0"/>
                </a:moveTo>
                <a:lnTo>
                  <a:pt x="1017523" y="0"/>
                </a:lnTo>
                <a:lnTo>
                  <a:pt x="1007970" y="931"/>
                </a:lnTo>
                <a:lnTo>
                  <a:pt x="1001428" y="3759"/>
                </a:lnTo>
                <a:lnTo>
                  <a:pt x="997669" y="8529"/>
                </a:lnTo>
                <a:lnTo>
                  <a:pt x="996467" y="15290"/>
                </a:lnTo>
                <a:lnTo>
                  <a:pt x="996467" y="19088"/>
                </a:lnTo>
                <a:lnTo>
                  <a:pt x="1011313" y="19088"/>
                </a:lnTo>
                <a:lnTo>
                  <a:pt x="1011567" y="12700"/>
                </a:lnTo>
                <a:lnTo>
                  <a:pt x="1013726" y="10883"/>
                </a:lnTo>
                <a:lnTo>
                  <a:pt x="1032814" y="10883"/>
                </a:lnTo>
                <a:lnTo>
                  <a:pt x="1032814" y="863"/>
                </a:lnTo>
                <a:lnTo>
                  <a:pt x="1025296" y="0"/>
                </a:lnTo>
                <a:close/>
              </a:path>
              <a:path w="1256665" h="92075">
                <a:moveTo>
                  <a:pt x="1032814" y="10883"/>
                </a:moveTo>
                <a:lnTo>
                  <a:pt x="1025994" y="10883"/>
                </a:lnTo>
                <a:lnTo>
                  <a:pt x="1029449" y="11061"/>
                </a:lnTo>
                <a:lnTo>
                  <a:pt x="1032814" y="11315"/>
                </a:lnTo>
                <a:lnTo>
                  <a:pt x="1032814" y="10883"/>
                </a:lnTo>
                <a:close/>
              </a:path>
              <a:path w="1256665" h="92075">
                <a:moveTo>
                  <a:pt x="926706" y="863"/>
                </a:moveTo>
                <a:lnTo>
                  <a:pt x="911936" y="863"/>
                </a:lnTo>
                <a:lnTo>
                  <a:pt x="911936" y="69951"/>
                </a:lnTo>
                <a:lnTo>
                  <a:pt x="926706" y="69951"/>
                </a:lnTo>
                <a:lnTo>
                  <a:pt x="926706" y="863"/>
                </a:lnTo>
                <a:close/>
              </a:path>
              <a:path w="1256665" h="92075">
                <a:moveTo>
                  <a:pt x="870343" y="37401"/>
                </a:moveTo>
                <a:lnTo>
                  <a:pt x="861631" y="37401"/>
                </a:lnTo>
                <a:lnTo>
                  <a:pt x="850026" y="38252"/>
                </a:lnTo>
                <a:lnTo>
                  <a:pt x="840244" y="41117"/>
                </a:lnTo>
                <a:lnTo>
                  <a:pt x="833492" y="46461"/>
                </a:lnTo>
                <a:lnTo>
                  <a:pt x="830973" y="54749"/>
                </a:lnTo>
                <a:lnTo>
                  <a:pt x="832585" y="62103"/>
                </a:lnTo>
                <a:lnTo>
                  <a:pt x="837199" y="67087"/>
                </a:lnTo>
                <a:lnTo>
                  <a:pt x="844486" y="69919"/>
                </a:lnTo>
                <a:lnTo>
                  <a:pt x="854113" y="70815"/>
                </a:lnTo>
                <a:lnTo>
                  <a:pt x="862743" y="70313"/>
                </a:lnTo>
                <a:lnTo>
                  <a:pt x="870702" y="68880"/>
                </a:lnTo>
                <a:lnTo>
                  <a:pt x="878094" y="66620"/>
                </a:lnTo>
                <a:lnTo>
                  <a:pt x="885024" y="63639"/>
                </a:lnTo>
                <a:lnTo>
                  <a:pt x="899871" y="63639"/>
                </a:lnTo>
                <a:lnTo>
                  <a:pt x="899871" y="59931"/>
                </a:lnTo>
                <a:lnTo>
                  <a:pt x="850658" y="59931"/>
                </a:lnTo>
                <a:lnTo>
                  <a:pt x="845731" y="59499"/>
                </a:lnTo>
                <a:lnTo>
                  <a:pt x="845731" y="48971"/>
                </a:lnTo>
                <a:lnTo>
                  <a:pt x="852385" y="47066"/>
                </a:lnTo>
                <a:lnTo>
                  <a:pt x="899871" y="47066"/>
                </a:lnTo>
                <a:lnTo>
                  <a:pt x="899871" y="44297"/>
                </a:lnTo>
                <a:lnTo>
                  <a:pt x="899248" y="41021"/>
                </a:lnTo>
                <a:lnTo>
                  <a:pt x="885024" y="41021"/>
                </a:lnTo>
                <a:lnTo>
                  <a:pt x="878382" y="38773"/>
                </a:lnTo>
                <a:lnTo>
                  <a:pt x="870343" y="37401"/>
                </a:lnTo>
                <a:close/>
              </a:path>
              <a:path w="1256665" h="92075">
                <a:moveTo>
                  <a:pt x="899871" y="63639"/>
                </a:moveTo>
                <a:lnTo>
                  <a:pt x="885024" y="63639"/>
                </a:lnTo>
                <a:lnTo>
                  <a:pt x="885024" y="69951"/>
                </a:lnTo>
                <a:lnTo>
                  <a:pt x="899871" y="69951"/>
                </a:lnTo>
                <a:lnTo>
                  <a:pt x="899871" y="63639"/>
                </a:lnTo>
                <a:close/>
              </a:path>
              <a:path w="1256665" h="92075">
                <a:moveTo>
                  <a:pt x="899871" y="47066"/>
                </a:moveTo>
                <a:lnTo>
                  <a:pt x="872858" y="47066"/>
                </a:lnTo>
                <a:lnTo>
                  <a:pt x="879843" y="48526"/>
                </a:lnTo>
                <a:lnTo>
                  <a:pt x="885024" y="50177"/>
                </a:lnTo>
                <a:lnTo>
                  <a:pt x="885024" y="54152"/>
                </a:lnTo>
                <a:lnTo>
                  <a:pt x="878782" y="56432"/>
                </a:lnTo>
                <a:lnTo>
                  <a:pt x="871850" y="58266"/>
                </a:lnTo>
                <a:lnTo>
                  <a:pt x="864834" y="59487"/>
                </a:lnTo>
                <a:lnTo>
                  <a:pt x="858342" y="59931"/>
                </a:lnTo>
                <a:lnTo>
                  <a:pt x="899871" y="59931"/>
                </a:lnTo>
                <a:lnTo>
                  <a:pt x="899871" y="47066"/>
                </a:lnTo>
                <a:close/>
              </a:path>
              <a:path w="1256665" h="92075">
                <a:moveTo>
                  <a:pt x="896313" y="30568"/>
                </a:moveTo>
                <a:lnTo>
                  <a:pt x="872591" y="30568"/>
                </a:lnTo>
                <a:lnTo>
                  <a:pt x="885024" y="31356"/>
                </a:lnTo>
                <a:lnTo>
                  <a:pt x="885024" y="41021"/>
                </a:lnTo>
                <a:lnTo>
                  <a:pt x="899248" y="41021"/>
                </a:lnTo>
                <a:lnTo>
                  <a:pt x="897554" y="32101"/>
                </a:lnTo>
                <a:lnTo>
                  <a:pt x="896313" y="30568"/>
                </a:lnTo>
                <a:close/>
              </a:path>
              <a:path w="1256665" h="92075">
                <a:moveTo>
                  <a:pt x="866381" y="18224"/>
                </a:moveTo>
                <a:lnTo>
                  <a:pt x="858482" y="18572"/>
                </a:lnTo>
                <a:lnTo>
                  <a:pt x="850692" y="19592"/>
                </a:lnTo>
                <a:lnTo>
                  <a:pt x="842951" y="21246"/>
                </a:lnTo>
                <a:lnTo>
                  <a:pt x="835202" y="23495"/>
                </a:lnTo>
                <a:lnTo>
                  <a:pt x="840473" y="34277"/>
                </a:lnTo>
                <a:lnTo>
                  <a:pt x="847882" y="32390"/>
                </a:lnTo>
                <a:lnTo>
                  <a:pt x="854502" y="31261"/>
                </a:lnTo>
                <a:lnTo>
                  <a:pt x="860409" y="30712"/>
                </a:lnTo>
                <a:lnTo>
                  <a:pt x="865682" y="30568"/>
                </a:lnTo>
                <a:lnTo>
                  <a:pt x="896313" y="30568"/>
                </a:lnTo>
                <a:lnTo>
                  <a:pt x="891027" y="24041"/>
                </a:lnTo>
                <a:lnTo>
                  <a:pt x="880549" y="19590"/>
                </a:lnTo>
                <a:lnTo>
                  <a:pt x="866381" y="18224"/>
                </a:lnTo>
                <a:close/>
              </a:path>
              <a:path w="1256665" h="92075">
                <a:moveTo>
                  <a:pt x="796963" y="31432"/>
                </a:moveTo>
                <a:lnTo>
                  <a:pt x="782116" y="31432"/>
                </a:lnTo>
                <a:lnTo>
                  <a:pt x="782116" y="54673"/>
                </a:lnTo>
                <a:lnTo>
                  <a:pt x="783645" y="61926"/>
                </a:lnTo>
                <a:lnTo>
                  <a:pt x="787992" y="66949"/>
                </a:lnTo>
                <a:lnTo>
                  <a:pt x="794798" y="69870"/>
                </a:lnTo>
                <a:lnTo>
                  <a:pt x="803706" y="70815"/>
                </a:lnTo>
                <a:lnTo>
                  <a:pt x="810526" y="70815"/>
                </a:lnTo>
                <a:lnTo>
                  <a:pt x="816140" y="70383"/>
                </a:lnTo>
                <a:lnTo>
                  <a:pt x="821054" y="69507"/>
                </a:lnTo>
                <a:lnTo>
                  <a:pt x="821054" y="58458"/>
                </a:lnTo>
                <a:lnTo>
                  <a:pt x="798868" y="58458"/>
                </a:lnTo>
                <a:lnTo>
                  <a:pt x="796963" y="55956"/>
                </a:lnTo>
                <a:lnTo>
                  <a:pt x="796963" y="31432"/>
                </a:lnTo>
                <a:close/>
              </a:path>
              <a:path w="1256665" h="92075">
                <a:moveTo>
                  <a:pt x="821054" y="57607"/>
                </a:moveTo>
                <a:lnTo>
                  <a:pt x="815098" y="58458"/>
                </a:lnTo>
                <a:lnTo>
                  <a:pt x="821054" y="58458"/>
                </a:lnTo>
                <a:lnTo>
                  <a:pt x="821054" y="57607"/>
                </a:lnTo>
                <a:close/>
              </a:path>
              <a:path w="1256665" h="92075">
                <a:moveTo>
                  <a:pt x="821054" y="19088"/>
                </a:moveTo>
                <a:lnTo>
                  <a:pt x="768730" y="19088"/>
                </a:lnTo>
                <a:lnTo>
                  <a:pt x="768730" y="31432"/>
                </a:lnTo>
                <a:lnTo>
                  <a:pt x="821054" y="31432"/>
                </a:lnTo>
                <a:lnTo>
                  <a:pt x="821054" y="19088"/>
                </a:lnTo>
                <a:close/>
              </a:path>
              <a:path w="1256665" h="92075">
                <a:moveTo>
                  <a:pt x="796963" y="4318"/>
                </a:moveTo>
                <a:lnTo>
                  <a:pt x="782116" y="8547"/>
                </a:lnTo>
                <a:lnTo>
                  <a:pt x="782116" y="19088"/>
                </a:lnTo>
                <a:lnTo>
                  <a:pt x="796963" y="19088"/>
                </a:lnTo>
                <a:lnTo>
                  <a:pt x="796963" y="4318"/>
                </a:lnTo>
                <a:close/>
              </a:path>
              <a:path w="1256665" h="92075">
                <a:moveTo>
                  <a:pt x="758456" y="19088"/>
                </a:moveTo>
                <a:lnTo>
                  <a:pt x="743699" y="19088"/>
                </a:lnTo>
                <a:lnTo>
                  <a:pt x="743699" y="69951"/>
                </a:lnTo>
                <a:lnTo>
                  <a:pt x="758456" y="69951"/>
                </a:lnTo>
                <a:lnTo>
                  <a:pt x="758456" y="19088"/>
                </a:lnTo>
                <a:close/>
              </a:path>
              <a:path w="1256665" h="92075">
                <a:moveTo>
                  <a:pt x="758456" y="863"/>
                </a:moveTo>
                <a:lnTo>
                  <a:pt x="743699" y="863"/>
                </a:lnTo>
                <a:lnTo>
                  <a:pt x="743699" y="13728"/>
                </a:lnTo>
                <a:lnTo>
                  <a:pt x="758456" y="13728"/>
                </a:lnTo>
                <a:lnTo>
                  <a:pt x="758456" y="863"/>
                </a:lnTo>
                <a:close/>
              </a:path>
              <a:path w="1256665" h="92075">
                <a:moveTo>
                  <a:pt x="666610" y="75565"/>
                </a:moveTo>
                <a:lnTo>
                  <a:pt x="666610" y="87477"/>
                </a:lnTo>
                <a:lnTo>
                  <a:pt x="671585" y="88657"/>
                </a:lnTo>
                <a:lnTo>
                  <a:pt x="678845" y="89989"/>
                </a:lnTo>
                <a:lnTo>
                  <a:pt x="687950" y="91078"/>
                </a:lnTo>
                <a:lnTo>
                  <a:pt x="698461" y="91528"/>
                </a:lnTo>
                <a:lnTo>
                  <a:pt x="711770" y="89802"/>
                </a:lnTo>
                <a:lnTo>
                  <a:pt x="722266" y="84448"/>
                </a:lnTo>
                <a:lnTo>
                  <a:pt x="726188" y="79184"/>
                </a:lnTo>
                <a:lnTo>
                  <a:pt x="695185" y="79184"/>
                </a:lnTo>
                <a:lnTo>
                  <a:pt x="686821" y="78776"/>
                </a:lnTo>
                <a:lnTo>
                  <a:pt x="678921" y="77793"/>
                </a:lnTo>
                <a:lnTo>
                  <a:pt x="672009" y="76602"/>
                </a:lnTo>
                <a:lnTo>
                  <a:pt x="666610" y="75565"/>
                </a:lnTo>
                <a:close/>
              </a:path>
              <a:path w="1256665" h="92075">
                <a:moveTo>
                  <a:pt x="731621" y="60274"/>
                </a:moveTo>
                <a:lnTo>
                  <a:pt x="716775" y="60274"/>
                </a:lnTo>
                <a:lnTo>
                  <a:pt x="715294" y="68731"/>
                </a:lnTo>
                <a:lnTo>
                  <a:pt x="711485" y="74620"/>
                </a:lnTo>
                <a:lnTo>
                  <a:pt x="704923" y="78063"/>
                </a:lnTo>
                <a:lnTo>
                  <a:pt x="695185" y="79184"/>
                </a:lnTo>
                <a:lnTo>
                  <a:pt x="726188" y="79184"/>
                </a:lnTo>
                <a:lnTo>
                  <a:pt x="729149" y="75209"/>
                </a:lnTo>
                <a:lnTo>
                  <a:pt x="731621" y="61823"/>
                </a:lnTo>
                <a:lnTo>
                  <a:pt x="731621" y="60274"/>
                </a:lnTo>
                <a:close/>
              </a:path>
              <a:path w="1256665" h="92075">
                <a:moveTo>
                  <a:pt x="691045" y="18224"/>
                </a:moveTo>
                <a:lnTo>
                  <a:pt x="679021" y="19691"/>
                </a:lnTo>
                <a:lnTo>
                  <a:pt x="669570" y="24268"/>
                </a:lnTo>
                <a:lnTo>
                  <a:pt x="663389" y="32213"/>
                </a:lnTo>
                <a:lnTo>
                  <a:pt x="661174" y="43789"/>
                </a:lnTo>
                <a:lnTo>
                  <a:pt x="663389" y="55352"/>
                </a:lnTo>
                <a:lnTo>
                  <a:pt x="669570" y="63295"/>
                </a:lnTo>
                <a:lnTo>
                  <a:pt x="679021" y="67872"/>
                </a:lnTo>
                <a:lnTo>
                  <a:pt x="691045" y="69342"/>
                </a:lnTo>
                <a:lnTo>
                  <a:pt x="699399" y="68727"/>
                </a:lnTo>
                <a:lnTo>
                  <a:pt x="706467" y="66946"/>
                </a:lnTo>
                <a:lnTo>
                  <a:pt x="712256" y="64096"/>
                </a:lnTo>
                <a:lnTo>
                  <a:pt x="716775" y="60274"/>
                </a:lnTo>
                <a:lnTo>
                  <a:pt x="731621" y="60274"/>
                </a:lnTo>
                <a:lnTo>
                  <a:pt x="731621" y="56997"/>
                </a:lnTo>
                <a:lnTo>
                  <a:pt x="682497" y="56997"/>
                </a:lnTo>
                <a:lnTo>
                  <a:pt x="675932" y="53111"/>
                </a:lnTo>
                <a:lnTo>
                  <a:pt x="675932" y="34467"/>
                </a:lnTo>
                <a:lnTo>
                  <a:pt x="682497" y="30568"/>
                </a:lnTo>
                <a:lnTo>
                  <a:pt x="731621" y="30568"/>
                </a:lnTo>
                <a:lnTo>
                  <a:pt x="731621" y="27292"/>
                </a:lnTo>
                <a:lnTo>
                  <a:pt x="716775" y="27292"/>
                </a:lnTo>
                <a:lnTo>
                  <a:pt x="712306" y="23475"/>
                </a:lnTo>
                <a:lnTo>
                  <a:pt x="706534" y="20624"/>
                </a:lnTo>
                <a:lnTo>
                  <a:pt x="699449" y="18841"/>
                </a:lnTo>
                <a:lnTo>
                  <a:pt x="691045" y="18224"/>
                </a:lnTo>
                <a:close/>
              </a:path>
              <a:path w="1256665" h="92075">
                <a:moveTo>
                  <a:pt x="731621" y="30568"/>
                </a:moveTo>
                <a:lnTo>
                  <a:pt x="710298" y="30568"/>
                </a:lnTo>
                <a:lnTo>
                  <a:pt x="716775" y="34467"/>
                </a:lnTo>
                <a:lnTo>
                  <a:pt x="716775" y="53111"/>
                </a:lnTo>
                <a:lnTo>
                  <a:pt x="710298" y="56997"/>
                </a:lnTo>
                <a:lnTo>
                  <a:pt x="731621" y="56997"/>
                </a:lnTo>
                <a:lnTo>
                  <a:pt x="731621" y="30568"/>
                </a:lnTo>
                <a:close/>
              </a:path>
              <a:path w="1256665" h="92075">
                <a:moveTo>
                  <a:pt x="731621" y="19088"/>
                </a:moveTo>
                <a:lnTo>
                  <a:pt x="716775" y="19088"/>
                </a:lnTo>
                <a:lnTo>
                  <a:pt x="716775" y="27292"/>
                </a:lnTo>
                <a:lnTo>
                  <a:pt x="731621" y="27292"/>
                </a:lnTo>
                <a:lnTo>
                  <a:pt x="731621" y="19088"/>
                </a:lnTo>
                <a:close/>
              </a:path>
              <a:path w="1256665" h="92075">
                <a:moveTo>
                  <a:pt x="650379" y="19088"/>
                </a:moveTo>
                <a:lnTo>
                  <a:pt x="635609" y="19088"/>
                </a:lnTo>
                <a:lnTo>
                  <a:pt x="635609" y="69951"/>
                </a:lnTo>
                <a:lnTo>
                  <a:pt x="650379" y="69951"/>
                </a:lnTo>
                <a:lnTo>
                  <a:pt x="650379" y="19088"/>
                </a:lnTo>
                <a:close/>
              </a:path>
              <a:path w="1256665" h="92075">
                <a:moveTo>
                  <a:pt x="650379" y="863"/>
                </a:moveTo>
                <a:lnTo>
                  <a:pt x="635609" y="863"/>
                </a:lnTo>
                <a:lnTo>
                  <a:pt x="635609" y="13728"/>
                </a:lnTo>
                <a:lnTo>
                  <a:pt x="650379" y="13728"/>
                </a:lnTo>
                <a:lnTo>
                  <a:pt x="650379" y="863"/>
                </a:lnTo>
                <a:close/>
              </a:path>
              <a:path w="1256665" h="92075">
                <a:moveTo>
                  <a:pt x="583387" y="18224"/>
                </a:moveTo>
                <a:lnTo>
                  <a:pt x="571773" y="19607"/>
                </a:lnTo>
                <a:lnTo>
                  <a:pt x="562121" y="24107"/>
                </a:lnTo>
                <a:lnTo>
                  <a:pt x="555526" y="32251"/>
                </a:lnTo>
                <a:lnTo>
                  <a:pt x="553084" y="44564"/>
                </a:lnTo>
                <a:lnTo>
                  <a:pt x="555526" y="56863"/>
                </a:lnTo>
                <a:lnTo>
                  <a:pt x="562121" y="64976"/>
                </a:lnTo>
                <a:lnTo>
                  <a:pt x="571773" y="69445"/>
                </a:lnTo>
                <a:lnTo>
                  <a:pt x="583387" y="70815"/>
                </a:lnTo>
                <a:lnTo>
                  <a:pt x="591206" y="70252"/>
                </a:lnTo>
                <a:lnTo>
                  <a:pt x="598125" y="68580"/>
                </a:lnTo>
                <a:lnTo>
                  <a:pt x="604025" y="65821"/>
                </a:lnTo>
                <a:lnTo>
                  <a:pt x="608787" y="62001"/>
                </a:lnTo>
                <a:lnTo>
                  <a:pt x="623544" y="62001"/>
                </a:lnTo>
                <a:lnTo>
                  <a:pt x="623544" y="58458"/>
                </a:lnTo>
                <a:lnTo>
                  <a:pt x="575106" y="58458"/>
                </a:lnTo>
                <a:lnTo>
                  <a:pt x="567943" y="54571"/>
                </a:lnTo>
                <a:lnTo>
                  <a:pt x="567943" y="34467"/>
                </a:lnTo>
                <a:lnTo>
                  <a:pt x="575106" y="30568"/>
                </a:lnTo>
                <a:lnTo>
                  <a:pt x="623544" y="30568"/>
                </a:lnTo>
                <a:lnTo>
                  <a:pt x="623544" y="27025"/>
                </a:lnTo>
                <a:lnTo>
                  <a:pt x="608787" y="27025"/>
                </a:lnTo>
                <a:lnTo>
                  <a:pt x="604025" y="23212"/>
                </a:lnTo>
                <a:lnTo>
                  <a:pt x="598125" y="20458"/>
                </a:lnTo>
                <a:lnTo>
                  <a:pt x="591206" y="18787"/>
                </a:lnTo>
                <a:lnTo>
                  <a:pt x="583387" y="18224"/>
                </a:lnTo>
                <a:close/>
              </a:path>
              <a:path w="1256665" h="92075">
                <a:moveTo>
                  <a:pt x="623544" y="62001"/>
                </a:moveTo>
                <a:lnTo>
                  <a:pt x="608787" y="62001"/>
                </a:lnTo>
                <a:lnTo>
                  <a:pt x="608787" y="69951"/>
                </a:lnTo>
                <a:lnTo>
                  <a:pt x="623544" y="69951"/>
                </a:lnTo>
                <a:lnTo>
                  <a:pt x="623544" y="62001"/>
                </a:lnTo>
                <a:close/>
              </a:path>
              <a:path w="1256665" h="92075">
                <a:moveTo>
                  <a:pt x="623544" y="30568"/>
                </a:moveTo>
                <a:lnTo>
                  <a:pt x="601522" y="30568"/>
                </a:lnTo>
                <a:lnTo>
                  <a:pt x="608787" y="34467"/>
                </a:lnTo>
                <a:lnTo>
                  <a:pt x="608787" y="54571"/>
                </a:lnTo>
                <a:lnTo>
                  <a:pt x="601522" y="58458"/>
                </a:lnTo>
                <a:lnTo>
                  <a:pt x="623544" y="58458"/>
                </a:lnTo>
                <a:lnTo>
                  <a:pt x="623544" y="30568"/>
                </a:lnTo>
                <a:close/>
              </a:path>
              <a:path w="1256665" h="92075">
                <a:moveTo>
                  <a:pt x="623544" y="863"/>
                </a:moveTo>
                <a:lnTo>
                  <a:pt x="608787" y="863"/>
                </a:lnTo>
                <a:lnTo>
                  <a:pt x="608787" y="27025"/>
                </a:lnTo>
                <a:lnTo>
                  <a:pt x="623544" y="27025"/>
                </a:lnTo>
                <a:lnTo>
                  <a:pt x="623544" y="863"/>
                </a:lnTo>
                <a:close/>
              </a:path>
              <a:path w="1256665" h="92075">
                <a:moveTo>
                  <a:pt x="462800" y="18224"/>
                </a:moveTo>
                <a:lnTo>
                  <a:pt x="448589" y="19704"/>
                </a:lnTo>
                <a:lnTo>
                  <a:pt x="437446" y="24364"/>
                </a:lnTo>
                <a:lnTo>
                  <a:pt x="430173" y="32540"/>
                </a:lnTo>
                <a:lnTo>
                  <a:pt x="427570" y="44564"/>
                </a:lnTo>
                <a:lnTo>
                  <a:pt x="430220" y="56531"/>
                </a:lnTo>
                <a:lnTo>
                  <a:pt x="437500" y="64681"/>
                </a:lnTo>
                <a:lnTo>
                  <a:pt x="448407" y="69335"/>
                </a:lnTo>
                <a:lnTo>
                  <a:pt x="461937" y="70815"/>
                </a:lnTo>
                <a:lnTo>
                  <a:pt x="474841" y="69652"/>
                </a:lnTo>
                <a:lnTo>
                  <a:pt x="485132" y="66124"/>
                </a:lnTo>
                <a:lnTo>
                  <a:pt x="492524" y="60169"/>
                </a:lnTo>
                <a:lnTo>
                  <a:pt x="493200" y="58813"/>
                </a:lnTo>
                <a:lnTo>
                  <a:pt x="452094" y="58813"/>
                </a:lnTo>
                <a:lnTo>
                  <a:pt x="444322" y="56134"/>
                </a:lnTo>
                <a:lnTo>
                  <a:pt x="442683" y="48006"/>
                </a:lnTo>
                <a:lnTo>
                  <a:pt x="497585" y="48006"/>
                </a:lnTo>
                <a:lnTo>
                  <a:pt x="495815" y="38608"/>
                </a:lnTo>
                <a:lnTo>
                  <a:pt x="443191" y="38608"/>
                </a:lnTo>
                <a:lnTo>
                  <a:pt x="445528" y="31432"/>
                </a:lnTo>
                <a:lnTo>
                  <a:pt x="452615" y="29451"/>
                </a:lnTo>
                <a:lnTo>
                  <a:pt x="491513" y="29451"/>
                </a:lnTo>
                <a:lnTo>
                  <a:pt x="487446" y="24437"/>
                </a:lnTo>
                <a:lnTo>
                  <a:pt x="476395" y="19623"/>
                </a:lnTo>
                <a:lnTo>
                  <a:pt x="462800" y="18224"/>
                </a:lnTo>
                <a:close/>
              </a:path>
              <a:path w="1256665" h="92075">
                <a:moveTo>
                  <a:pt x="496735" y="51727"/>
                </a:moveTo>
                <a:lnTo>
                  <a:pt x="482053" y="51727"/>
                </a:lnTo>
                <a:lnTo>
                  <a:pt x="478345" y="56908"/>
                </a:lnTo>
                <a:lnTo>
                  <a:pt x="472122" y="58813"/>
                </a:lnTo>
                <a:lnTo>
                  <a:pt x="493200" y="58813"/>
                </a:lnTo>
                <a:lnTo>
                  <a:pt x="496735" y="51727"/>
                </a:lnTo>
                <a:close/>
              </a:path>
              <a:path w="1256665" h="92075">
                <a:moveTo>
                  <a:pt x="491513" y="29451"/>
                </a:moveTo>
                <a:lnTo>
                  <a:pt x="472046" y="29451"/>
                </a:lnTo>
                <a:lnTo>
                  <a:pt x="479297" y="31432"/>
                </a:lnTo>
                <a:lnTo>
                  <a:pt x="481787" y="38608"/>
                </a:lnTo>
                <a:lnTo>
                  <a:pt x="495815" y="38608"/>
                </a:lnTo>
                <a:lnTo>
                  <a:pt x="494870" y="33590"/>
                </a:lnTo>
                <a:lnTo>
                  <a:pt x="491513" y="29451"/>
                </a:lnTo>
                <a:close/>
              </a:path>
              <a:path w="1256665" h="92075">
                <a:moveTo>
                  <a:pt x="368858" y="19088"/>
                </a:moveTo>
                <a:lnTo>
                  <a:pt x="352463" y="19088"/>
                </a:lnTo>
                <a:lnTo>
                  <a:pt x="378193" y="69951"/>
                </a:lnTo>
                <a:lnTo>
                  <a:pt x="399262" y="69951"/>
                </a:lnTo>
                <a:lnTo>
                  <a:pt x="404565" y="59499"/>
                </a:lnTo>
                <a:lnTo>
                  <a:pt x="388810" y="59499"/>
                </a:lnTo>
                <a:lnTo>
                  <a:pt x="368858" y="19088"/>
                </a:lnTo>
                <a:close/>
              </a:path>
              <a:path w="1256665" h="92075">
                <a:moveTo>
                  <a:pt x="425068" y="19088"/>
                </a:moveTo>
                <a:lnTo>
                  <a:pt x="408673" y="19088"/>
                </a:lnTo>
                <a:lnTo>
                  <a:pt x="388810" y="59499"/>
                </a:lnTo>
                <a:lnTo>
                  <a:pt x="404565" y="59499"/>
                </a:lnTo>
                <a:lnTo>
                  <a:pt x="425068" y="19088"/>
                </a:lnTo>
                <a:close/>
              </a:path>
              <a:path w="1256665" h="92075">
                <a:moveTo>
                  <a:pt x="343052" y="19088"/>
                </a:moveTo>
                <a:lnTo>
                  <a:pt x="328282" y="19088"/>
                </a:lnTo>
                <a:lnTo>
                  <a:pt x="328282" y="69951"/>
                </a:lnTo>
                <a:lnTo>
                  <a:pt x="343052" y="69951"/>
                </a:lnTo>
                <a:lnTo>
                  <a:pt x="343052" y="19088"/>
                </a:lnTo>
                <a:close/>
              </a:path>
              <a:path w="1256665" h="92075">
                <a:moveTo>
                  <a:pt x="343052" y="863"/>
                </a:moveTo>
                <a:lnTo>
                  <a:pt x="328282" y="863"/>
                </a:lnTo>
                <a:lnTo>
                  <a:pt x="328282" y="13728"/>
                </a:lnTo>
                <a:lnTo>
                  <a:pt x="343052" y="13728"/>
                </a:lnTo>
                <a:lnTo>
                  <a:pt x="343052" y="863"/>
                </a:lnTo>
                <a:close/>
              </a:path>
              <a:path w="1256665" h="92075">
                <a:moveTo>
                  <a:pt x="293001" y="31432"/>
                </a:moveTo>
                <a:lnTo>
                  <a:pt x="278142" y="31432"/>
                </a:lnTo>
                <a:lnTo>
                  <a:pt x="278142" y="54673"/>
                </a:lnTo>
                <a:lnTo>
                  <a:pt x="279669" y="61926"/>
                </a:lnTo>
                <a:lnTo>
                  <a:pt x="284013" y="66949"/>
                </a:lnTo>
                <a:lnTo>
                  <a:pt x="290819" y="69870"/>
                </a:lnTo>
                <a:lnTo>
                  <a:pt x="299732" y="70815"/>
                </a:lnTo>
                <a:lnTo>
                  <a:pt x="306552" y="70815"/>
                </a:lnTo>
                <a:lnTo>
                  <a:pt x="312165" y="70383"/>
                </a:lnTo>
                <a:lnTo>
                  <a:pt x="317093" y="69507"/>
                </a:lnTo>
                <a:lnTo>
                  <a:pt x="317093" y="58458"/>
                </a:lnTo>
                <a:lnTo>
                  <a:pt x="294906" y="58458"/>
                </a:lnTo>
                <a:lnTo>
                  <a:pt x="293001" y="55956"/>
                </a:lnTo>
                <a:lnTo>
                  <a:pt x="293001" y="31432"/>
                </a:lnTo>
                <a:close/>
              </a:path>
              <a:path w="1256665" h="92075">
                <a:moveTo>
                  <a:pt x="317093" y="57607"/>
                </a:moveTo>
                <a:lnTo>
                  <a:pt x="311124" y="58458"/>
                </a:lnTo>
                <a:lnTo>
                  <a:pt x="317093" y="58458"/>
                </a:lnTo>
                <a:lnTo>
                  <a:pt x="317093" y="57607"/>
                </a:lnTo>
                <a:close/>
              </a:path>
              <a:path w="1256665" h="92075">
                <a:moveTo>
                  <a:pt x="317093" y="19088"/>
                </a:moveTo>
                <a:lnTo>
                  <a:pt x="264756" y="19088"/>
                </a:lnTo>
                <a:lnTo>
                  <a:pt x="264756" y="31432"/>
                </a:lnTo>
                <a:lnTo>
                  <a:pt x="317093" y="31432"/>
                </a:lnTo>
                <a:lnTo>
                  <a:pt x="317093" y="19088"/>
                </a:lnTo>
                <a:close/>
              </a:path>
              <a:path w="1256665" h="92075">
                <a:moveTo>
                  <a:pt x="293001" y="4318"/>
                </a:moveTo>
                <a:lnTo>
                  <a:pt x="278142" y="8547"/>
                </a:lnTo>
                <a:lnTo>
                  <a:pt x="278142" y="19088"/>
                </a:lnTo>
                <a:lnTo>
                  <a:pt x="293001" y="19088"/>
                </a:lnTo>
                <a:lnTo>
                  <a:pt x="293001" y="4318"/>
                </a:lnTo>
                <a:close/>
              </a:path>
              <a:path w="1256665" h="92075">
                <a:moveTo>
                  <a:pt x="254495" y="19088"/>
                </a:moveTo>
                <a:lnTo>
                  <a:pt x="239725" y="19088"/>
                </a:lnTo>
                <a:lnTo>
                  <a:pt x="239725" y="69951"/>
                </a:lnTo>
                <a:lnTo>
                  <a:pt x="254495" y="69951"/>
                </a:lnTo>
                <a:lnTo>
                  <a:pt x="254495" y="19088"/>
                </a:lnTo>
                <a:close/>
              </a:path>
              <a:path w="1256665" h="92075">
                <a:moveTo>
                  <a:pt x="254495" y="863"/>
                </a:moveTo>
                <a:lnTo>
                  <a:pt x="239725" y="863"/>
                </a:lnTo>
                <a:lnTo>
                  <a:pt x="239725" y="13728"/>
                </a:lnTo>
                <a:lnTo>
                  <a:pt x="254495" y="13728"/>
                </a:lnTo>
                <a:lnTo>
                  <a:pt x="254495" y="863"/>
                </a:lnTo>
                <a:close/>
              </a:path>
              <a:path w="1256665" h="92075">
                <a:moveTo>
                  <a:pt x="173431" y="52070"/>
                </a:moveTo>
                <a:lnTo>
                  <a:pt x="158661" y="52070"/>
                </a:lnTo>
                <a:lnTo>
                  <a:pt x="161801" y="61846"/>
                </a:lnTo>
                <a:lnTo>
                  <a:pt x="170179" y="67529"/>
                </a:lnTo>
                <a:lnTo>
                  <a:pt x="182235" y="70168"/>
                </a:lnTo>
                <a:lnTo>
                  <a:pt x="196405" y="70815"/>
                </a:lnTo>
                <a:lnTo>
                  <a:pt x="209756" y="70198"/>
                </a:lnTo>
                <a:lnTo>
                  <a:pt x="220022" y="67767"/>
                </a:lnTo>
                <a:lnTo>
                  <a:pt x="226614" y="62649"/>
                </a:lnTo>
                <a:lnTo>
                  <a:pt x="227436" y="59588"/>
                </a:lnTo>
                <a:lnTo>
                  <a:pt x="179044" y="59588"/>
                </a:lnTo>
                <a:lnTo>
                  <a:pt x="173431" y="57518"/>
                </a:lnTo>
                <a:lnTo>
                  <a:pt x="173431" y="52070"/>
                </a:lnTo>
                <a:close/>
              </a:path>
              <a:path w="1256665" h="92075">
                <a:moveTo>
                  <a:pt x="194144" y="18224"/>
                </a:moveTo>
                <a:lnTo>
                  <a:pt x="181188" y="18835"/>
                </a:lnTo>
                <a:lnTo>
                  <a:pt x="170514" y="21142"/>
                </a:lnTo>
                <a:lnTo>
                  <a:pt x="163189" y="25950"/>
                </a:lnTo>
                <a:lnTo>
                  <a:pt x="160477" y="34023"/>
                </a:lnTo>
                <a:lnTo>
                  <a:pt x="162540" y="41404"/>
                </a:lnTo>
                <a:lnTo>
                  <a:pt x="168757" y="45778"/>
                </a:lnTo>
                <a:lnTo>
                  <a:pt x="179165" y="48098"/>
                </a:lnTo>
                <a:lnTo>
                  <a:pt x="193801" y="49314"/>
                </a:lnTo>
                <a:lnTo>
                  <a:pt x="211683" y="50431"/>
                </a:lnTo>
                <a:lnTo>
                  <a:pt x="214109" y="50685"/>
                </a:lnTo>
                <a:lnTo>
                  <a:pt x="214109" y="58547"/>
                </a:lnTo>
                <a:lnTo>
                  <a:pt x="211505" y="59588"/>
                </a:lnTo>
                <a:lnTo>
                  <a:pt x="227436" y="59588"/>
                </a:lnTo>
                <a:lnTo>
                  <a:pt x="195529" y="38430"/>
                </a:lnTo>
                <a:lnTo>
                  <a:pt x="178003" y="37134"/>
                </a:lnTo>
                <a:lnTo>
                  <a:pt x="175323" y="36614"/>
                </a:lnTo>
                <a:lnTo>
                  <a:pt x="175323" y="30492"/>
                </a:lnTo>
                <a:lnTo>
                  <a:pt x="179298" y="29451"/>
                </a:lnTo>
                <a:lnTo>
                  <a:pt x="225691" y="29451"/>
                </a:lnTo>
                <a:lnTo>
                  <a:pt x="224755" y="26245"/>
                </a:lnTo>
                <a:lnTo>
                  <a:pt x="217878" y="21229"/>
                </a:lnTo>
                <a:lnTo>
                  <a:pt x="207404" y="18835"/>
                </a:lnTo>
                <a:lnTo>
                  <a:pt x="194144" y="18224"/>
                </a:lnTo>
                <a:close/>
              </a:path>
              <a:path w="1256665" h="92075">
                <a:moveTo>
                  <a:pt x="225691" y="29451"/>
                </a:moveTo>
                <a:lnTo>
                  <a:pt x="207022" y="29451"/>
                </a:lnTo>
                <a:lnTo>
                  <a:pt x="212382" y="30492"/>
                </a:lnTo>
                <a:lnTo>
                  <a:pt x="212382" y="34721"/>
                </a:lnTo>
                <a:lnTo>
                  <a:pt x="227228" y="34721"/>
                </a:lnTo>
                <a:lnTo>
                  <a:pt x="225691" y="29451"/>
                </a:lnTo>
                <a:close/>
              </a:path>
              <a:path w="1256665" h="92075">
                <a:moveTo>
                  <a:pt x="114909" y="18224"/>
                </a:moveTo>
                <a:lnTo>
                  <a:pt x="100516" y="19704"/>
                </a:lnTo>
                <a:lnTo>
                  <a:pt x="89393" y="24364"/>
                </a:lnTo>
                <a:lnTo>
                  <a:pt x="82221" y="32540"/>
                </a:lnTo>
                <a:lnTo>
                  <a:pt x="79679" y="44564"/>
                </a:lnTo>
                <a:lnTo>
                  <a:pt x="82221" y="56531"/>
                </a:lnTo>
                <a:lnTo>
                  <a:pt x="89393" y="64681"/>
                </a:lnTo>
                <a:lnTo>
                  <a:pt x="100516" y="69335"/>
                </a:lnTo>
                <a:lnTo>
                  <a:pt x="114909" y="70815"/>
                </a:lnTo>
                <a:lnTo>
                  <a:pt x="129265" y="69335"/>
                </a:lnTo>
                <a:lnTo>
                  <a:pt x="140392" y="64681"/>
                </a:lnTo>
                <a:lnTo>
                  <a:pt x="145884" y="58458"/>
                </a:lnTo>
                <a:lnTo>
                  <a:pt x="101180" y="58458"/>
                </a:lnTo>
                <a:lnTo>
                  <a:pt x="94437" y="55092"/>
                </a:lnTo>
                <a:lnTo>
                  <a:pt x="94437" y="33934"/>
                </a:lnTo>
                <a:lnTo>
                  <a:pt x="101180" y="30568"/>
                </a:lnTo>
                <a:lnTo>
                  <a:pt x="145850" y="30568"/>
                </a:lnTo>
                <a:lnTo>
                  <a:pt x="140392" y="24364"/>
                </a:lnTo>
                <a:lnTo>
                  <a:pt x="129265" y="19704"/>
                </a:lnTo>
                <a:lnTo>
                  <a:pt x="114909" y="18224"/>
                </a:lnTo>
                <a:close/>
              </a:path>
              <a:path w="1256665" h="92075">
                <a:moveTo>
                  <a:pt x="145850" y="30568"/>
                </a:moveTo>
                <a:lnTo>
                  <a:pt x="128536" y="30568"/>
                </a:lnTo>
                <a:lnTo>
                  <a:pt x="135280" y="33934"/>
                </a:lnTo>
                <a:lnTo>
                  <a:pt x="135280" y="55092"/>
                </a:lnTo>
                <a:lnTo>
                  <a:pt x="128536" y="58458"/>
                </a:lnTo>
                <a:lnTo>
                  <a:pt x="145884" y="58458"/>
                </a:lnTo>
                <a:lnTo>
                  <a:pt x="147585" y="56531"/>
                </a:lnTo>
                <a:lnTo>
                  <a:pt x="150139" y="44564"/>
                </a:lnTo>
                <a:lnTo>
                  <a:pt x="147585" y="32540"/>
                </a:lnTo>
                <a:lnTo>
                  <a:pt x="145850" y="30568"/>
                </a:lnTo>
                <a:close/>
              </a:path>
              <a:path w="1256665" h="92075">
                <a:moveTo>
                  <a:pt x="47497" y="9512"/>
                </a:moveTo>
                <a:lnTo>
                  <a:pt x="0" y="9512"/>
                </a:lnTo>
                <a:lnTo>
                  <a:pt x="0" y="69951"/>
                </a:lnTo>
                <a:lnTo>
                  <a:pt x="15544" y="69951"/>
                </a:lnTo>
                <a:lnTo>
                  <a:pt x="15544" y="53809"/>
                </a:lnTo>
                <a:lnTo>
                  <a:pt x="47497" y="53809"/>
                </a:lnTo>
                <a:lnTo>
                  <a:pt x="56905" y="52248"/>
                </a:lnTo>
                <a:lnTo>
                  <a:pt x="64215" y="47802"/>
                </a:lnTo>
                <a:lnTo>
                  <a:pt x="68952" y="40833"/>
                </a:lnTo>
                <a:lnTo>
                  <a:pt x="15544" y="40754"/>
                </a:lnTo>
                <a:lnTo>
                  <a:pt x="15544" y="22542"/>
                </a:lnTo>
                <a:lnTo>
                  <a:pt x="68948" y="22542"/>
                </a:lnTo>
                <a:lnTo>
                  <a:pt x="64215" y="15552"/>
                </a:lnTo>
                <a:lnTo>
                  <a:pt x="56905" y="11084"/>
                </a:lnTo>
                <a:lnTo>
                  <a:pt x="47497" y="9512"/>
                </a:lnTo>
                <a:close/>
              </a:path>
              <a:path w="1256665" h="92075">
                <a:moveTo>
                  <a:pt x="68948" y="22542"/>
                </a:moveTo>
                <a:lnTo>
                  <a:pt x="55092" y="22542"/>
                </a:lnTo>
                <a:lnTo>
                  <a:pt x="55092" y="40754"/>
                </a:lnTo>
                <a:lnTo>
                  <a:pt x="68967" y="40754"/>
                </a:lnTo>
                <a:lnTo>
                  <a:pt x="70637" y="31699"/>
                </a:lnTo>
                <a:lnTo>
                  <a:pt x="68948" y="22542"/>
                </a:lnTo>
                <a:close/>
              </a:path>
            </a:pathLst>
          </a:custGeom>
          <a:solidFill>
            <a:srgbClr val="00AA9B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751A90F7-4173-4539-90AE-F4A8B177F34B}"/>
              </a:ext>
            </a:extLst>
          </p:cNvPr>
          <p:cNvSpPr/>
          <p:nvPr userDrawn="1"/>
        </p:nvSpPr>
        <p:spPr>
          <a:xfrm>
            <a:off x="7119938" y="2743200"/>
            <a:ext cx="2228850" cy="3429000"/>
          </a:xfrm>
          <a:custGeom>
            <a:avLst/>
            <a:gdLst/>
            <a:ahLst/>
            <a:cxnLst/>
            <a:rect l="l" t="t" r="r" b="b"/>
            <a:pathLst>
              <a:path w="3657600" h="4572000">
                <a:moveTo>
                  <a:pt x="3657600" y="0"/>
                </a:moveTo>
                <a:lnTo>
                  <a:pt x="0" y="0"/>
                </a:lnTo>
                <a:lnTo>
                  <a:pt x="0" y="4572000"/>
                </a:lnTo>
                <a:lnTo>
                  <a:pt x="3657600" y="4572000"/>
                </a:lnTo>
                <a:lnTo>
                  <a:pt x="36576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2" name="object 13">
            <a:extLst>
              <a:ext uri="{FF2B5EF4-FFF2-40B4-BE49-F238E27FC236}">
                <a16:creationId xmlns:a16="http://schemas.microsoft.com/office/drawing/2014/main" id="{AEDC5B23-1647-49B1-8689-60FD3A78D068}"/>
              </a:ext>
            </a:extLst>
          </p:cNvPr>
          <p:cNvSpPr/>
          <p:nvPr/>
        </p:nvSpPr>
        <p:spPr>
          <a:xfrm>
            <a:off x="0" y="0"/>
            <a:ext cx="3219450" cy="6858000"/>
          </a:xfrm>
          <a:custGeom>
            <a:avLst/>
            <a:gdLst/>
            <a:ahLst/>
            <a:cxnLst/>
            <a:rect l="l" t="t" r="r" b="b"/>
            <a:pathLst>
              <a:path w="5283200" h="9144000">
                <a:moveTo>
                  <a:pt x="5283200" y="0"/>
                </a:moveTo>
                <a:lnTo>
                  <a:pt x="0" y="0"/>
                </a:lnTo>
                <a:lnTo>
                  <a:pt x="0" y="9144000"/>
                </a:lnTo>
                <a:lnTo>
                  <a:pt x="5283200" y="9144000"/>
                </a:lnTo>
                <a:lnTo>
                  <a:pt x="528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26" name="object 25">
            <a:extLst>
              <a:ext uri="{FF2B5EF4-FFF2-40B4-BE49-F238E27FC236}">
                <a16:creationId xmlns:a16="http://schemas.microsoft.com/office/drawing/2014/main" id="{B878D6D7-A21E-4916-A1DB-9ADACBC53B10}"/>
              </a:ext>
            </a:extLst>
          </p:cNvPr>
          <p:cNvSpPr/>
          <p:nvPr userDrawn="1"/>
        </p:nvSpPr>
        <p:spPr>
          <a:xfrm>
            <a:off x="6562725" y="1371599"/>
            <a:ext cx="1671638" cy="4800600"/>
          </a:xfrm>
          <a:custGeom>
            <a:avLst/>
            <a:gdLst/>
            <a:ahLst/>
            <a:cxnLst/>
            <a:rect l="l" t="t" r="r" b="b"/>
            <a:pathLst>
              <a:path w="2743200" h="6400800">
                <a:moveTo>
                  <a:pt x="914400" y="5486400"/>
                </a:moveTo>
                <a:lnTo>
                  <a:pt x="0" y="5486400"/>
                </a:lnTo>
                <a:lnTo>
                  <a:pt x="0" y="6400800"/>
                </a:lnTo>
                <a:lnTo>
                  <a:pt x="914400" y="6400800"/>
                </a:lnTo>
                <a:lnTo>
                  <a:pt x="914400" y="5486400"/>
                </a:lnTo>
                <a:close/>
              </a:path>
              <a:path w="2743200" h="6400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2743200" h="6400800">
                <a:moveTo>
                  <a:pt x="2743200" y="0"/>
                </a:moveTo>
                <a:lnTo>
                  <a:pt x="1828800" y="0"/>
                </a:lnTo>
                <a:lnTo>
                  <a:pt x="1828800" y="914400"/>
                </a:lnTo>
                <a:lnTo>
                  <a:pt x="2743200" y="914400"/>
                </a:lnTo>
                <a:lnTo>
                  <a:pt x="27432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CF9F1995-3828-492B-8E00-DABB95B1CE1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2" y="5486400"/>
            <a:ext cx="1547813" cy="685799"/>
          </a:xfrm>
          <a:noFill/>
          <a:ln>
            <a:noFill/>
          </a:ln>
        </p:spPr>
        <p:txBody>
          <a:bodyPr anchor="ctr"/>
          <a:lstStyle>
            <a:lvl1pPr algn="ctr">
              <a:defRPr sz="975"/>
            </a:lvl1pPr>
          </a:lstStyle>
          <a:p>
            <a:r>
              <a:rPr lang="fr-FR" dirty="0"/>
              <a:t>Insert logo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E3D4C3-7FF7-4C2C-AC1C-58D153EBB7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9473" y="1029173"/>
            <a:ext cx="2102316" cy="2114550"/>
          </a:xfrm>
        </p:spPr>
        <p:txBody>
          <a:bodyPr/>
          <a:lstStyle/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4CC0C3C-8E8C-4602-B27C-EAA9C3EB84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5736" y="1029173"/>
            <a:ext cx="2505908" cy="211455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D69663-3C24-47D3-AADB-4E2655570CE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5259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7841DCF2-2B94-45F3-94F5-118FE191F00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7213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7" name="Text Placeholder 18">
            <a:extLst>
              <a:ext uri="{FF2B5EF4-FFF2-40B4-BE49-F238E27FC236}">
                <a16:creationId xmlns:a16="http://schemas.microsoft.com/office/drawing/2014/main" id="{9675BD83-58FE-4C71-B90D-479A1D8BFE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18680" y="33289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570C0C40-76FE-48E0-A40C-7FA39A61163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213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9" name="Graphique 30">
            <a:extLst>
              <a:ext uri="{FF2B5EF4-FFF2-40B4-BE49-F238E27FC236}">
                <a16:creationId xmlns:a16="http://schemas.microsoft.com/office/drawing/2014/main" id="{770E9CC6-F60D-46FE-A773-33194C46E1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34363" y="485445"/>
            <a:ext cx="1114425" cy="323582"/>
          </a:xfrm>
          <a:prstGeom prst="rect">
            <a:avLst/>
          </a:prstGeom>
        </p:spPr>
      </p:pic>
      <p:sp>
        <p:nvSpPr>
          <p:cNvPr id="17" name="Holder 2">
            <a:extLst>
              <a:ext uri="{FF2B5EF4-FFF2-40B4-BE49-F238E27FC236}">
                <a16:creationId xmlns:a16="http://schemas.microsoft.com/office/drawing/2014/main" id="{05127B3F-A4EE-4D4A-96E3-28A732548D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473" y="697701"/>
            <a:ext cx="7561065" cy="436516"/>
          </a:xfrm>
          <a:prstGeom prst="rect">
            <a:avLst/>
          </a:prstGeom>
        </p:spPr>
        <p:txBody>
          <a:bodyPr wrap="square" lIns="0" tIns="14400" rIns="0" bIns="0">
            <a:spAutoFit/>
          </a:bodyPr>
          <a:lstStyle>
            <a:lvl1pPr algn="l">
              <a:defRPr sz="2742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Slide title</a:t>
            </a: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380F4B4-DFB8-45BA-BF39-FD12DC17938D}"/>
              </a:ext>
            </a:extLst>
          </p:cNvPr>
          <p:cNvSpPr/>
          <p:nvPr userDrawn="1"/>
        </p:nvSpPr>
        <p:spPr>
          <a:xfrm>
            <a:off x="0" y="5143500"/>
            <a:ext cx="9906000" cy="1714500"/>
          </a:xfrm>
          <a:custGeom>
            <a:avLst/>
            <a:gdLst>
              <a:gd name="connsiteX0" fmla="*/ 0 w 16256000"/>
              <a:gd name="connsiteY0" fmla="*/ 0 h 2286000"/>
              <a:gd name="connsiteX1" fmla="*/ 16256000 w 16256000"/>
              <a:gd name="connsiteY1" fmla="*/ 0 h 2286000"/>
              <a:gd name="connsiteX2" fmla="*/ 16256000 w 16256000"/>
              <a:gd name="connsiteY2" fmla="*/ 1371600 h 2286000"/>
              <a:gd name="connsiteX3" fmla="*/ 15341600 w 16256000"/>
              <a:gd name="connsiteY3" fmla="*/ 1371600 h 2286000"/>
              <a:gd name="connsiteX4" fmla="*/ 15341600 w 16256000"/>
              <a:gd name="connsiteY4" fmla="*/ 2286000 h 2286000"/>
              <a:gd name="connsiteX5" fmla="*/ 0 w 16256000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56000" h="2286000">
                <a:moveTo>
                  <a:pt x="0" y="0"/>
                </a:moveTo>
                <a:lnTo>
                  <a:pt x="16256000" y="0"/>
                </a:lnTo>
                <a:lnTo>
                  <a:pt x="16256000" y="1371600"/>
                </a:lnTo>
                <a:lnTo>
                  <a:pt x="15341600" y="1371600"/>
                </a:lnTo>
                <a:lnTo>
                  <a:pt x="15341600" y="2286000"/>
                </a:lnTo>
                <a:lnTo>
                  <a:pt x="0" y="2286000"/>
                </a:lnTo>
                <a:close/>
              </a:path>
            </a:pathLst>
          </a:custGeom>
          <a:solidFill>
            <a:srgbClr val="222C4A"/>
          </a:solidFill>
        </p:spPr>
        <p:txBody>
          <a:bodyPr wrap="square" lIns="0" tIns="0" rIns="0" bIns="0" rtlCol="0">
            <a:noAutofit/>
          </a:bodyPr>
          <a:lstStyle/>
          <a:p>
            <a:endParaRPr sz="731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FA622AA-407E-4F46-953C-4F5CFFF27758}"/>
              </a:ext>
            </a:extLst>
          </p:cNvPr>
          <p:cNvGrpSpPr/>
          <p:nvPr userDrawn="1"/>
        </p:nvGrpSpPr>
        <p:grpSpPr>
          <a:xfrm>
            <a:off x="7820355" y="5902835"/>
            <a:ext cx="215146" cy="264795"/>
            <a:chOff x="12833403" y="7870446"/>
            <a:chExt cx="353060" cy="353060"/>
          </a:xfrm>
        </p:grpSpPr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FE6F9D51-5130-443F-B1D6-66A7423C656F}"/>
                </a:ext>
              </a:extLst>
            </p:cNvPr>
            <p:cNvSpPr/>
            <p:nvPr/>
          </p:nvSpPr>
          <p:spPr>
            <a:xfrm>
              <a:off x="12833403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9D8A372B-5C39-4A64-9C1B-63367CD65657}"/>
                </a:ext>
              </a:extLst>
            </p:cNvPr>
            <p:cNvSpPr/>
            <p:nvPr/>
          </p:nvSpPr>
          <p:spPr>
            <a:xfrm>
              <a:off x="12956971" y="7938711"/>
              <a:ext cx="105664" cy="21626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B1B7B49-0DA0-45B6-8E19-E1D65283D0ED}"/>
              </a:ext>
            </a:extLst>
          </p:cNvPr>
          <p:cNvGrpSpPr/>
          <p:nvPr userDrawn="1"/>
        </p:nvGrpSpPr>
        <p:grpSpPr>
          <a:xfrm>
            <a:off x="8147748" y="5902835"/>
            <a:ext cx="215146" cy="264795"/>
            <a:chOff x="13370664" y="7870446"/>
            <a:chExt cx="353060" cy="353060"/>
          </a:xfrm>
        </p:grpSpPr>
        <p:sp>
          <p:nvSpPr>
            <p:cNvPr id="18" name="object 16">
              <a:extLst>
                <a:ext uri="{FF2B5EF4-FFF2-40B4-BE49-F238E27FC236}">
                  <a16:creationId xmlns:a16="http://schemas.microsoft.com/office/drawing/2014/main" id="{656B5F96-588D-4950-953A-24C2FAA305BA}"/>
                </a:ext>
              </a:extLst>
            </p:cNvPr>
            <p:cNvSpPr/>
            <p:nvPr/>
          </p:nvSpPr>
          <p:spPr>
            <a:xfrm>
              <a:off x="13370664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19" name="object 17">
              <a:extLst>
                <a:ext uri="{FF2B5EF4-FFF2-40B4-BE49-F238E27FC236}">
                  <a16:creationId xmlns:a16="http://schemas.microsoft.com/office/drawing/2014/main" id="{11BF1B32-D111-4881-9DFF-43E6C6F520A6}"/>
                </a:ext>
              </a:extLst>
            </p:cNvPr>
            <p:cNvSpPr/>
            <p:nvPr/>
          </p:nvSpPr>
          <p:spPr>
            <a:xfrm>
              <a:off x="13442765" y="7962081"/>
              <a:ext cx="208597" cy="16953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6C6C106-DE9F-424D-9B9A-C24F893C9D73}"/>
              </a:ext>
            </a:extLst>
          </p:cNvPr>
          <p:cNvGrpSpPr/>
          <p:nvPr userDrawn="1"/>
        </p:nvGrpSpPr>
        <p:grpSpPr>
          <a:xfrm>
            <a:off x="9129932" y="5902835"/>
            <a:ext cx="215146" cy="264795"/>
            <a:chOff x="14982452" y="7870446"/>
            <a:chExt cx="353060" cy="353060"/>
          </a:xfrm>
        </p:grpSpPr>
        <p:sp>
          <p:nvSpPr>
            <p:cNvPr id="20" name="object 18">
              <a:extLst>
                <a:ext uri="{FF2B5EF4-FFF2-40B4-BE49-F238E27FC236}">
                  <a16:creationId xmlns:a16="http://schemas.microsoft.com/office/drawing/2014/main" id="{48B0EE01-8313-438B-85E4-919E3227E5BE}"/>
                </a:ext>
              </a:extLst>
            </p:cNvPr>
            <p:cNvSpPr/>
            <p:nvPr/>
          </p:nvSpPr>
          <p:spPr>
            <a:xfrm>
              <a:off x="14982452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4656ECC0-6C42-4410-9C22-44D7020441F1}"/>
                </a:ext>
              </a:extLst>
            </p:cNvPr>
            <p:cNvSpPr/>
            <p:nvPr/>
          </p:nvSpPr>
          <p:spPr>
            <a:xfrm>
              <a:off x="15049749" y="7937746"/>
              <a:ext cx="218198" cy="21819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C6C8FFF-8FEA-4190-BEF9-18887051D0DD}"/>
              </a:ext>
            </a:extLst>
          </p:cNvPr>
          <p:cNvGrpSpPr/>
          <p:nvPr userDrawn="1"/>
        </p:nvGrpSpPr>
        <p:grpSpPr>
          <a:xfrm>
            <a:off x="8802538" y="5902835"/>
            <a:ext cx="215146" cy="264795"/>
            <a:chOff x="14445191" y="7870446"/>
            <a:chExt cx="353060" cy="353060"/>
          </a:xfrm>
        </p:grpSpPr>
        <p:sp>
          <p:nvSpPr>
            <p:cNvPr id="23" name="object 20">
              <a:extLst>
                <a:ext uri="{FF2B5EF4-FFF2-40B4-BE49-F238E27FC236}">
                  <a16:creationId xmlns:a16="http://schemas.microsoft.com/office/drawing/2014/main" id="{23414877-28FB-4DC1-8403-7063952D0A34}"/>
                </a:ext>
              </a:extLst>
            </p:cNvPr>
            <p:cNvSpPr/>
            <p:nvPr/>
          </p:nvSpPr>
          <p:spPr>
            <a:xfrm>
              <a:off x="14445191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4" name="object 21">
              <a:extLst>
                <a:ext uri="{FF2B5EF4-FFF2-40B4-BE49-F238E27FC236}">
                  <a16:creationId xmlns:a16="http://schemas.microsoft.com/office/drawing/2014/main" id="{152A3D67-68A0-4395-A725-E4D4B063083F}"/>
                </a:ext>
              </a:extLst>
            </p:cNvPr>
            <p:cNvSpPr/>
            <p:nvPr/>
          </p:nvSpPr>
          <p:spPr>
            <a:xfrm>
              <a:off x="14516264" y="7973118"/>
              <a:ext cx="210654" cy="14744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9B15965-B2D7-4F16-8E53-EFCD29DF2415}"/>
              </a:ext>
            </a:extLst>
          </p:cNvPr>
          <p:cNvGrpSpPr/>
          <p:nvPr userDrawn="1"/>
        </p:nvGrpSpPr>
        <p:grpSpPr>
          <a:xfrm>
            <a:off x="8475144" y="5902835"/>
            <a:ext cx="215146" cy="264795"/>
            <a:chOff x="13907928" y="7870446"/>
            <a:chExt cx="353060" cy="353060"/>
          </a:xfrm>
        </p:grpSpPr>
        <p:sp>
          <p:nvSpPr>
            <p:cNvPr id="25" name="object 22">
              <a:extLst>
                <a:ext uri="{FF2B5EF4-FFF2-40B4-BE49-F238E27FC236}">
                  <a16:creationId xmlns:a16="http://schemas.microsoft.com/office/drawing/2014/main" id="{55F9FD29-BE99-4B55-9E02-369EDD098BF6}"/>
                </a:ext>
              </a:extLst>
            </p:cNvPr>
            <p:cNvSpPr/>
            <p:nvPr/>
          </p:nvSpPr>
          <p:spPr>
            <a:xfrm>
              <a:off x="13907928" y="7870446"/>
              <a:ext cx="353060" cy="353060"/>
            </a:xfrm>
            <a:custGeom>
              <a:avLst/>
              <a:gdLst/>
              <a:ahLst/>
              <a:cxnLst/>
              <a:rect l="l" t="t" r="r" b="b"/>
              <a:pathLst>
                <a:path w="353059" h="353059">
                  <a:moveTo>
                    <a:pt x="0" y="0"/>
                  </a:moveTo>
                  <a:lnTo>
                    <a:pt x="352793" y="0"/>
                  </a:lnTo>
                  <a:lnTo>
                    <a:pt x="352793" y="352793"/>
                  </a:lnTo>
                  <a:lnTo>
                    <a:pt x="0" y="352793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26" name="object 23">
              <a:extLst>
                <a:ext uri="{FF2B5EF4-FFF2-40B4-BE49-F238E27FC236}">
                  <a16:creationId xmlns:a16="http://schemas.microsoft.com/office/drawing/2014/main" id="{BD7E5DCE-E3CE-4A81-935E-3853938624C6}"/>
                </a:ext>
              </a:extLst>
            </p:cNvPr>
            <p:cNvSpPr/>
            <p:nvPr/>
          </p:nvSpPr>
          <p:spPr>
            <a:xfrm>
              <a:off x="13990901" y="7954696"/>
              <a:ext cx="186842" cy="18430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30" name="object 8">
            <a:extLst>
              <a:ext uri="{FF2B5EF4-FFF2-40B4-BE49-F238E27FC236}">
                <a16:creationId xmlns:a16="http://schemas.microsoft.com/office/drawing/2014/main" id="{30407C8C-1F92-4D15-91A5-2F39144E61A5}"/>
              </a:ext>
            </a:extLst>
          </p:cNvPr>
          <p:cNvSpPr txBox="1"/>
          <p:nvPr userDrawn="1"/>
        </p:nvSpPr>
        <p:spPr>
          <a:xfrm>
            <a:off x="7820355" y="5487350"/>
            <a:ext cx="1536557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grpSp>
        <p:nvGrpSpPr>
          <p:cNvPr id="38" name="Graphique 30">
            <a:extLst>
              <a:ext uri="{FF2B5EF4-FFF2-40B4-BE49-F238E27FC236}">
                <a16:creationId xmlns:a16="http://schemas.microsoft.com/office/drawing/2014/main" id="{EFD8DA84-E25B-4397-9A13-BE58B213B7E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213" y="5553303"/>
            <a:ext cx="2228850" cy="650468"/>
            <a:chOff x="6756400" y="5334000"/>
            <a:chExt cx="1824936" cy="432729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D7AB141-7BCF-40C0-B8C8-1BE3AA1B10F4}"/>
                </a:ext>
              </a:extLst>
            </p:cNvPr>
            <p:cNvSpPr/>
            <p:nvPr/>
          </p:nvSpPr>
          <p:spPr>
            <a:xfrm>
              <a:off x="7041667" y="5675289"/>
              <a:ext cx="1254402" cy="91439"/>
            </a:xfrm>
            <a:custGeom>
              <a:avLst/>
              <a:gdLst>
                <a:gd name="connsiteX0" fmla="*/ 70834 w 1254402"/>
                <a:gd name="connsiteY0" fmla="*/ 31553 h 91439"/>
                <a:gd name="connsiteX1" fmla="*/ 47652 w 1254402"/>
                <a:gd name="connsiteY1" fmla="*/ 53447 h 91439"/>
                <a:gd name="connsiteX2" fmla="*/ 15455 w 1254402"/>
                <a:gd name="connsiteY2" fmla="*/ 53447 h 91439"/>
                <a:gd name="connsiteX3" fmla="*/ 15455 w 1254402"/>
                <a:gd name="connsiteY3" fmla="*/ 69546 h 91439"/>
                <a:gd name="connsiteX4" fmla="*/ 0 w 1254402"/>
                <a:gd name="connsiteY4" fmla="*/ 69546 h 91439"/>
                <a:gd name="connsiteX5" fmla="*/ 0 w 1254402"/>
                <a:gd name="connsiteY5" fmla="*/ 9015 h 91439"/>
                <a:gd name="connsiteX6" fmla="*/ 47652 w 1254402"/>
                <a:gd name="connsiteY6" fmla="*/ 9015 h 91439"/>
                <a:gd name="connsiteX7" fmla="*/ 70834 w 1254402"/>
                <a:gd name="connsiteY7" fmla="*/ 31553 h 91439"/>
                <a:gd name="connsiteX8" fmla="*/ 55379 w 1254402"/>
                <a:gd name="connsiteY8" fmla="*/ 31553 h 91439"/>
                <a:gd name="connsiteX9" fmla="*/ 43788 w 1254402"/>
                <a:gd name="connsiteY9" fmla="*/ 22538 h 91439"/>
                <a:gd name="connsiteX10" fmla="*/ 16099 w 1254402"/>
                <a:gd name="connsiteY10" fmla="*/ 22538 h 91439"/>
                <a:gd name="connsiteX11" fmla="*/ 16099 w 1254402"/>
                <a:gd name="connsiteY11" fmla="*/ 40568 h 91439"/>
                <a:gd name="connsiteX12" fmla="*/ 43144 w 1254402"/>
                <a:gd name="connsiteY12" fmla="*/ 40568 h 91439"/>
                <a:gd name="connsiteX13" fmla="*/ 55379 w 1254402"/>
                <a:gd name="connsiteY13" fmla="*/ 31553 h 91439"/>
                <a:gd name="connsiteX14" fmla="*/ 79849 w 1254402"/>
                <a:gd name="connsiteY14" fmla="*/ 44432 h 91439"/>
                <a:gd name="connsiteX15" fmla="*/ 115266 w 1254402"/>
                <a:gd name="connsiteY15" fmla="*/ 18030 h 91439"/>
                <a:gd name="connsiteX16" fmla="*/ 150683 w 1254402"/>
                <a:gd name="connsiteY16" fmla="*/ 44432 h 91439"/>
                <a:gd name="connsiteX17" fmla="*/ 115266 w 1254402"/>
                <a:gd name="connsiteY17" fmla="*/ 70834 h 91439"/>
                <a:gd name="connsiteX18" fmla="*/ 79849 w 1254402"/>
                <a:gd name="connsiteY18" fmla="*/ 44432 h 91439"/>
                <a:gd name="connsiteX19" fmla="*/ 135228 w 1254402"/>
                <a:gd name="connsiteY19" fmla="*/ 44432 h 91439"/>
                <a:gd name="connsiteX20" fmla="*/ 114622 w 1254402"/>
                <a:gd name="connsiteY20" fmla="*/ 30265 h 91439"/>
                <a:gd name="connsiteX21" fmla="*/ 94016 w 1254402"/>
                <a:gd name="connsiteY21" fmla="*/ 44432 h 91439"/>
                <a:gd name="connsiteX22" fmla="*/ 114622 w 1254402"/>
                <a:gd name="connsiteY22" fmla="*/ 58599 h 91439"/>
                <a:gd name="connsiteX23" fmla="*/ 135228 w 1254402"/>
                <a:gd name="connsiteY23" fmla="*/ 44432 h 91439"/>
                <a:gd name="connsiteX24" fmla="*/ 173221 w 1254402"/>
                <a:gd name="connsiteY24" fmla="*/ 52159 h 91439"/>
                <a:gd name="connsiteX25" fmla="*/ 195115 w 1254402"/>
                <a:gd name="connsiteY25" fmla="*/ 59887 h 91439"/>
                <a:gd name="connsiteX26" fmla="*/ 213789 w 1254402"/>
                <a:gd name="connsiteY26" fmla="*/ 54735 h 91439"/>
                <a:gd name="connsiteX27" fmla="*/ 193827 w 1254402"/>
                <a:gd name="connsiteY27" fmla="*/ 49584 h 91439"/>
                <a:gd name="connsiteX28" fmla="*/ 160342 w 1254402"/>
                <a:gd name="connsiteY28" fmla="*/ 34129 h 91439"/>
                <a:gd name="connsiteX29" fmla="*/ 193827 w 1254402"/>
                <a:gd name="connsiteY29" fmla="*/ 18674 h 91439"/>
                <a:gd name="connsiteX30" fmla="*/ 226668 w 1254402"/>
                <a:gd name="connsiteY30" fmla="*/ 35417 h 91439"/>
                <a:gd name="connsiteX31" fmla="*/ 211857 w 1254402"/>
                <a:gd name="connsiteY31" fmla="*/ 35417 h 91439"/>
                <a:gd name="connsiteX32" fmla="*/ 192539 w 1254402"/>
                <a:gd name="connsiteY32" fmla="*/ 30265 h 91439"/>
                <a:gd name="connsiteX33" fmla="*/ 174509 w 1254402"/>
                <a:gd name="connsiteY33" fmla="*/ 34129 h 91439"/>
                <a:gd name="connsiteX34" fmla="*/ 194471 w 1254402"/>
                <a:gd name="connsiteY34" fmla="*/ 39281 h 91439"/>
                <a:gd name="connsiteX35" fmla="*/ 227956 w 1254402"/>
                <a:gd name="connsiteY35" fmla="*/ 54735 h 91439"/>
                <a:gd name="connsiteX36" fmla="*/ 195759 w 1254402"/>
                <a:gd name="connsiteY36" fmla="*/ 71478 h 91439"/>
                <a:gd name="connsiteX37" fmla="*/ 158410 w 1254402"/>
                <a:gd name="connsiteY37" fmla="*/ 52803 h 91439"/>
                <a:gd name="connsiteX38" fmla="*/ 173221 w 1254402"/>
                <a:gd name="connsiteY38" fmla="*/ 52803 h 91439"/>
                <a:gd name="connsiteX39" fmla="*/ 254358 w 1254402"/>
                <a:gd name="connsiteY39" fmla="*/ 644 h 91439"/>
                <a:gd name="connsiteX40" fmla="*/ 254358 w 1254402"/>
                <a:gd name="connsiteY40" fmla="*/ 13523 h 91439"/>
                <a:gd name="connsiteX41" fmla="*/ 239547 w 1254402"/>
                <a:gd name="connsiteY41" fmla="*/ 13523 h 91439"/>
                <a:gd name="connsiteX42" fmla="*/ 239547 w 1254402"/>
                <a:gd name="connsiteY42" fmla="*/ 644 h 91439"/>
                <a:gd name="connsiteX43" fmla="*/ 254358 w 1254402"/>
                <a:gd name="connsiteY43" fmla="*/ 644 h 91439"/>
                <a:gd name="connsiteX44" fmla="*/ 254358 w 1254402"/>
                <a:gd name="connsiteY44" fmla="*/ 19318 h 91439"/>
                <a:gd name="connsiteX45" fmla="*/ 254358 w 1254402"/>
                <a:gd name="connsiteY45" fmla="*/ 70190 h 91439"/>
                <a:gd name="connsiteX46" fmla="*/ 239547 w 1254402"/>
                <a:gd name="connsiteY46" fmla="*/ 70190 h 91439"/>
                <a:gd name="connsiteX47" fmla="*/ 239547 w 1254402"/>
                <a:gd name="connsiteY47" fmla="*/ 19318 h 91439"/>
                <a:gd name="connsiteX48" fmla="*/ 254358 w 1254402"/>
                <a:gd name="connsiteY48" fmla="*/ 19318 h 91439"/>
                <a:gd name="connsiteX49" fmla="*/ 292994 w 1254402"/>
                <a:gd name="connsiteY49" fmla="*/ 31553 h 91439"/>
                <a:gd name="connsiteX50" fmla="*/ 292994 w 1254402"/>
                <a:gd name="connsiteY50" fmla="*/ 46364 h 91439"/>
                <a:gd name="connsiteX51" fmla="*/ 303941 w 1254402"/>
                <a:gd name="connsiteY51" fmla="*/ 58599 h 91439"/>
                <a:gd name="connsiteX52" fmla="*/ 316820 w 1254402"/>
                <a:gd name="connsiteY52" fmla="*/ 57955 h 91439"/>
                <a:gd name="connsiteX53" fmla="*/ 316820 w 1254402"/>
                <a:gd name="connsiteY53" fmla="*/ 69546 h 91439"/>
                <a:gd name="connsiteX54" fmla="*/ 299434 w 1254402"/>
                <a:gd name="connsiteY54" fmla="*/ 70834 h 91439"/>
                <a:gd name="connsiteX55" fmla="*/ 278184 w 1254402"/>
                <a:gd name="connsiteY55" fmla="*/ 54735 h 91439"/>
                <a:gd name="connsiteX56" fmla="*/ 278184 w 1254402"/>
                <a:gd name="connsiteY56" fmla="*/ 31553 h 91439"/>
                <a:gd name="connsiteX57" fmla="*/ 264661 w 1254402"/>
                <a:gd name="connsiteY57" fmla="*/ 31553 h 91439"/>
                <a:gd name="connsiteX58" fmla="*/ 264661 w 1254402"/>
                <a:gd name="connsiteY58" fmla="*/ 19318 h 91439"/>
                <a:gd name="connsiteX59" fmla="*/ 278184 w 1254402"/>
                <a:gd name="connsiteY59" fmla="*/ 19318 h 91439"/>
                <a:gd name="connsiteX60" fmla="*/ 278184 w 1254402"/>
                <a:gd name="connsiteY60" fmla="*/ 9015 h 91439"/>
                <a:gd name="connsiteX61" fmla="*/ 292994 w 1254402"/>
                <a:gd name="connsiteY61" fmla="*/ 4508 h 91439"/>
                <a:gd name="connsiteX62" fmla="*/ 292994 w 1254402"/>
                <a:gd name="connsiteY62" fmla="*/ 19318 h 91439"/>
                <a:gd name="connsiteX63" fmla="*/ 316820 w 1254402"/>
                <a:gd name="connsiteY63" fmla="*/ 19318 h 91439"/>
                <a:gd name="connsiteX64" fmla="*/ 316820 w 1254402"/>
                <a:gd name="connsiteY64" fmla="*/ 31553 h 91439"/>
                <a:gd name="connsiteX65" fmla="*/ 292994 w 1254402"/>
                <a:gd name="connsiteY65" fmla="*/ 31553 h 91439"/>
                <a:gd name="connsiteX66" fmla="*/ 342578 w 1254402"/>
                <a:gd name="connsiteY66" fmla="*/ 644 h 91439"/>
                <a:gd name="connsiteX67" fmla="*/ 342578 w 1254402"/>
                <a:gd name="connsiteY67" fmla="*/ 13523 h 91439"/>
                <a:gd name="connsiteX68" fmla="*/ 327767 w 1254402"/>
                <a:gd name="connsiteY68" fmla="*/ 13523 h 91439"/>
                <a:gd name="connsiteX69" fmla="*/ 327767 w 1254402"/>
                <a:gd name="connsiteY69" fmla="*/ 644 h 91439"/>
                <a:gd name="connsiteX70" fmla="*/ 342578 w 1254402"/>
                <a:gd name="connsiteY70" fmla="*/ 644 h 91439"/>
                <a:gd name="connsiteX71" fmla="*/ 342578 w 1254402"/>
                <a:gd name="connsiteY71" fmla="*/ 19318 h 91439"/>
                <a:gd name="connsiteX72" fmla="*/ 342578 w 1254402"/>
                <a:gd name="connsiteY72" fmla="*/ 70190 h 91439"/>
                <a:gd name="connsiteX73" fmla="*/ 327767 w 1254402"/>
                <a:gd name="connsiteY73" fmla="*/ 70190 h 91439"/>
                <a:gd name="connsiteX74" fmla="*/ 327767 w 1254402"/>
                <a:gd name="connsiteY74" fmla="*/ 19318 h 91439"/>
                <a:gd name="connsiteX75" fmla="*/ 342578 w 1254402"/>
                <a:gd name="connsiteY75" fmla="*/ 19318 h 91439"/>
                <a:gd name="connsiteX76" fmla="*/ 424359 w 1254402"/>
                <a:gd name="connsiteY76" fmla="*/ 19318 h 91439"/>
                <a:gd name="connsiteX77" fmla="*/ 398601 w 1254402"/>
                <a:gd name="connsiteY77" fmla="*/ 70190 h 91439"/>
                <a:gd name="connsiteX78" fmla="*/ 377995 w 1254402"/>
                <a:gd name="connsiteY78" fmla="*/ 70190 h 91439"/>
                <a:gd name="connsiteX79" fmla="*/ 352237 w 1254402"/>
                <a:gd name="connsiteY79" fmla="*/ 19318 h 91439"/>
                <a:gd name="connsiteX80" fmla="*/ 368336 w 1254402"/>
                <a:gd name="connsiteY80" fmla="*/ 19318 h 91439"/>
                <a:gd name="connsiteX81" fmla="*/ 388298 w 1254402"/>
                <a:gd name="connsiteY81" fmla="*/ 59887 h 91439"/>
                <a:gd name="connsiteX82" fmla="*/ 408260 w 1254402"/>
                <a:gd name="connsiteY82" fmla="*/ 19318 h 91439"/>
                <a:gd name="connsiteX83" fmla="*/ 424359 w 1254402"/>
                <a:gd name="connsiteY83" fmla="*/ 19318 h 91439"/>
                <a:gd name="connsiteX84" fmla="*/ 481670 w 1254402"/>
                <a:gd name="connsiteY84" fmla="*/ 51515 h 91439"/>
                <a:gd name="connsiteX85" fmla="*/ 496481 w 1254402"/>
                <a:gd name="connsiteY85" fmla="*/ 51515 h 91439"/>
                <a:gd name="connsiteX86" fmla="*/ 461708 w 1254402"/>
                <a:gd name="connsiteY86" fmla="*/ 70834 h 91439"/>
                <a:gd name="connsiteX87" fmla="*/ 427579 w 1254402"/>
                <a:gd name="connsiteY87" fmla="*/ 44432 h 91439"/>
                <a:gd name="connsiteX88" fmla="*/ 462995 w 1254402"/>
                <a:gd name="connsiteY88" fmla="*/ 18030 h 91439"/>
                <a:gd name="connsiteX89" fmla="*/ 497768 w 1254402"/>
                <a:gd name="connsiteY89" fmla="*/ 47652 h 91439"/>
                <a:gd name="connsiteX90" fmla="*/ 442389 w 1254402"/>
                <a:gd name="connsiteY90" fmla="*/ 47652 h 91439"/>
                <a:gd name="connsiteX91" fmla="*/ 461708 w 1254402"/>
                <a:gd name="connsiteY91" fmla="*/ 58599 h 91439"/>
                <a:gd name="connsiteX92" fmla="*/ 481670 w 1254402"/>
                <a:gd name="connsiteY92" fmla="*/ 51515 h 91439"/>
                <a:gd name="connsiteX93" fmla="*/ 442389 w 1254402"/>
                <a:gd name="connsiteY93" fmla="*/ 38637 h 91439"/>
                <a:gd name="connsiteX94" fmla="*/ 481026 w 1254402"/>
                <a:gd name="connsiteY94" fmla="*/ 38637 h 91439"/>
                <a:gd name="connsiteX95" fmla="*/ 461708 w 1254402"/>
                <a:gd name="connsiteY95" fmla="*/ 29621 h 91439"/>
                <a:gd name="connsiteX96" fmla="*/ 442389 w 1254402"/>
                <a:gd name="connsiteY96" fmla="*/ 38637 h 91439"/>
                <a:gd name="connsiteX97" fmla="*/ 622694 w 1254402"/>
                <a:gd name="connsiteY97" fmla="*/ 644 h 91439"/>
                <a:gd name="connsiteX98" fmla="*/ 622694 w 1254402"/>
                <a:gd name="connsiteY98" fmla="*/ 69546 h 91439"/>
                <a:gd name="connsiteX99" fmla="*/ 607883 w 1254402"/>
                <a:gd name="connsiteY99" fmla="*/ 69546 h 91439"/>
                <a:gd name="connsiteX100" fmla="*/ 607883 w 1254402"/>
                <a:gd name="connsiteY100" fmla="*/ 61819 h 91439"/>
                <a:gd name="connsiteX101" fmla="*/ 582769 w 1254402"/>
                <a:gd name="connsiteY101" fmla="*/ 70834 h 91439"/>
                <a:gd name="connsiteX102" fmla="*/ 552504 w 1254402"/>
                <a:gd name="connsiteY102" fmla="*/ 44432 h 91439"/>
                <a:gd name="connsiteX103" fmla="*/ 582769 w 1254402"/>
                <a:gd name="connsiteY103" fmla="*/ 18030 h 91439"/>
                <a:gd name="connsiteX104" fmla="*/ 607883 w 1254402"/>
                <a:gd name="connsiteY104" fmla="*/ 27046 h 91439"/>
                <a:gd name="connsiteX105" fmla="*/ 607883 w 1254402"/>
                <a:gd name="connsiteY105" fmla="*/ 644 h 91439"/>
                <a:gd name="connsiteX106" fmla="*/ 622694 w 1254402"/>
                <a:gd name="connsiteY106" fmla="*/ 644 h 91439"/>
                <a:gd name="connsiteX107" fmla="*/ 607883 w 1254402"/>
                <a:gd name="connsiteY107" fmla="*/ 44432 h 91439"/>
                <a:gd name="connsiteX108" fmla="*/ 587277 w 1254402"/>
                <a:gd name="connsiteY108" fmla="*/ 30265 h 91439"/>
                <a:gd name="connsiteX109" fmla="*/ 566670 w 1254402"/>
                <a:gd name="connsiteY109" fmla="*/ 44432 h 91439"/>
                <a:gd name="connsiteX110" fmla="*/ 587277 w 1254402"/>
                <a:gd name="connsiteY110" fmla="*/ 58599 h 91439"/>
                <a:gd name="connsiteX111" fmla="*/ 607883 w 1254402"/>
                <a:gd name="connsiteY111" fmla="*/ 44432 h 91439"/>
                <a:gd name="connsiteX112" fmla="*/ 649739 w 1254402"/>
                <a:gd name="connsiteY112" fmla="*/ 644 h 91439"/>
                <a:gd name="connsiteX113" fmla="*/ 649739 w 1254402"/>
                <a:gd name="connsiteY113" fmla="*/ 13523 h 91439"/>
                <a:gd name="connsiteX114" fmla="*/ 634928 w 1254402"/>
                <a:gd name="connsiteY114" fmla="*/ 13523 h 91439"/>
                <a:gd name="connsiteX115" fmla="*/ 634928 w 1254402"/>
                <a:gd name="connsiteY115" fmla="*/ 644 h 91439"/>
                <a:gd name="connsiteX116" fmla="*/ 649739 w 1254402"/>
                <a:gd name="connsiteY116" fmla="*/ 644 h 91439"/>
                <a:gd name="connsiteX117" fmla="*/ 649739 w 1254402"/>
                <a:gd name="connsiteY117" fmla="*/ 19318 h 91439"/>
                <a:gd name="connsiteX118" fmla="*/ 649739 w 1254402"/>
                <a:gd name="connsiteY118" fmla="*/ 70190 h 91439"/>
                <a:gd name="connsiteX119" fmla="*/ 634928 w 1254402"/>
                <a:gd name="connsiteY119" fmla="*/ 70190 h 91439"/>
                <a:gd name="connsiteX120" fmla="*/ 634928 w 1254402"/>
                <a:gd name="connsiteY120" fmla="*/ 19318 h 91439"/>
                <a:gd name="connsiteX121" fmla="*/ 649739 w 1254402"/>
                <a:gd name="connsiteY121" fmla="*/ 19318 h 91439"/>
                <a:gd name="connsiteX122" fmla="*/ 730876 w 1254402"/>
                <a:gd name="connsiteY122" fmla="*/ 19318 h 91439"/>
                <a:gd name="connsiteX123" fmla="*/ 730876 w 1254402"/>
                <a:gd name="connsiteY123" fmla="*/ 61819 h 91439"/>
                <a:gd name="connsiteX124" fmla="*/ 698035 w 1254402"/>
                <a:gd name="connsiteY124" fmla="*/ 91440 h 91439"/>
                <a:gd name="connsiteX125" fmla="*/ 666482 w 1254402"/>
                <a:gd name="connsiteY125" fmla="*/ 87576 h 91439"/>
                <a:gd name="connsiteX126" fmla="*/ 666482 w 1254402"/>
                <a:gd name="connsiteY126" fmla="*/ 75985 h 91439"/>
                <a:gd name="connsiteX127" fmla="*/ 694815 w 1254402"/>
                <a:gd name="connsiteY127" fmla="*/ 79849 h 91439"/>
                <a:gd name="connsiteX128" fmla="*/ 716065 w 1254402"/>
                <a:gd name="connsiteY128" fmla="*/ 61175 h 91439"/>
                <a:gd name="connsiteX129" fmla="*/ 690308 w 1254402"/>
                <a:gd name="connsiteY129" fmla="*/ 70190 h 91439"/>
                <a:gd name="connsiteX130" fmla="*/ 660686 w 1254402"/>
                <a:gd name="connsiteY130" fmla="*/ 44432 h 91439"/>
                <a:gd name="connsiteX131" fmla="*/ 690308 w 1254402"/>
                <a:gd name="connsiteY131" fmla="*/ 18674 h 91439"/>
                <a:gd name="connsiteX132" fmla="*/ 716065 w 1254402"/>
                <a:gd name="connsiteY132" fmla="*/ 27690 h 91439"/>
                <a:gd name="connsiteX133" fmla="*/ 716065 w 1254402"/>
                <a:gd name="connsiteY133" fmla="*/ 19318 h 91439"/>
                <a:gd name="connsiteX134" fmla="*/ 730876 w 1254402"/>
                <a:gd name="connsiteY134" fmla="*/ 19318 h 91439"/>
                <a:gd name="connsiteX135" fmla="*/ 715421 w 1254402"/>
                <a:gd name="connsiteY135" fmla="*/ 43788 h 91439"/>
                <a:gd name="connsiteX136" fmla="*/ 694815 w 1254402"/>
                <a:gd name="connsiteY136" fmla="*/ 30909 h 91439"/>
                <a:gd name="connsiteX137" fmla="*/ 674209 w 1254402"/>
                <a:gd name="connsiteY137" fmla="*/ 43788 h 91439"/>
                <a:gd name="connsiteX138" fmla="*/ 694815 w 1254402"/>
                <a:gd name="connsiteY138" fmla="*/ 56667 h 91439"/>
                <a:gd name="connsiteX139" fmla="*/ 715421 w 1254402"/>
                <a:gd name="connsiteY139" fmla="*/ 43788 h 91439"/>
                <a:gd name="connsiteX140" fmla="*/ 757278 w 1254402"/>
                <a:gd name="connsiteY140" fmla="*/ 644 h 91439"/>
                <a:gd name="connsiteX141" fmla="*/ 757278 w 1254402"/>
                <a:gd name="connsiteY141" fmla="*/ 13523 h 91439"/>
                <a:gd name="connsiteX142" fmla="*/ 742467 w 1254402"/>
                <a:gd name="connsiteY142" fmla="*/ 13523 h 91439"/>
                <a:gd name="connsiteX143" fmla="*/ 742467 w 1254402"/>
                <a:gd name="connsiteY143" fmla="*/ 644 h 91439"/>
                <a:gd name="connsiteX144" fmla="*/ 757278 w 1254402"/>
                <a:gd name="connsiteY144" fmla="*/ 644 h 91439"/>
                <a:gd name="connsiteX145" fmla="*/ 757278 w 1254402"/>
                <a:gd name="connsiteY145" fmla="*/ 19318 h 91439"/>
                <a:gd name="connsiteX146" fmla="*/ 757278 w 1254402"/>
                <a:gd name="connsiteY146" fmla="*/ 70190 h 91439"/>
                <a:gd name="connsiteX147" fmla="*/ 742467 w 1254402"/>
                <a:gd name="connsiteY147" fmla="*/ 70190 h 91439"/>
                <a:gd name="connsiteX148" fmla="*/ 742467 w 1254402"/>
                <a:gd name="connsiteY148" fmla="*/ 19318 h 91439"/>
                <a:gd name="connsiteX149" fmla="*/ 757278 w 1254402"/>
                <a:gd name="connsiteY149" fmla="*/ 19318 h 91439"/>
                <a:gd name="connsiteX150" fmla="*/ 795914 w 1254402"/>
                <a:gd name="connsiteY150" fmla="*/ 31553 h 91439"/>
                <a:gd name="connsiteX151" fmla="*/ 795914 w 1254402"/>
                <a:gd name="connsiteY151" fmla="*/ 46364 h 91439"/>
                <a:gd name="connsiteX152" fmla="*/ 806861 w 1254402"/>
                <a:gd name="connsiteY152" fmla="*/ 58599 h 91439"/>
                <a:gd name="connsiteX153" fmla="*/ 819740 w 1254402"/>
                <a:gd name="connsiteY153" fmla="*/ 57955 h 91439"/>
                <a:gd name="connsiteX154" fmla="*/ 819740 w 1254402"/>
                <a:gd name="connsiteY154" fmla="*/ 69546 h 91439"/>
                <a:gd name="connsiteX155" fmla="*/ 802354 w 1254402"/>
                <a:gd name="connsiteY155" fmla="*/ 70834 h 91439"/>
                <a:gd name="connsiteX156" fmla="*/ 781104 w 1254402"/>
                <a:gd name="connsiteY156" fmla="*/ 54735 h 91439"/>
                <a:gd name="connsiteX157" fmla="*/ 781104 w 1254402"/>
                <a:gd name="connsiteY157" fmla="*/ 31553 h 91439"/>
                <a:gd name="connsiteX158" fmla="*/ 767581 w 1254402"/>
                <a:gd name="connsiteY158" fmla="*/ 31553 h 91439"/>
                <a:gd name="connsiteX159" fmla="*/ 767581 w 1254402"/>
                <a:gd name="connsiteY159" fmla="*/ 19318 h 91439"/>
                <a:gd name="connsiteX160" fmla="*/ 781104 w 1254402"/>
                <a:gd name="connsiteY160" fmla="*/ 19318 h 91439"/>
                <a:gd name="connsiteX161" fmla="*/ 781104 w 1254402"/>
                <a:gd name="connsiteY161" fmla="*/ 9015 h 91439"/>
                <a:gd name="connsiteX162" fmla="*/ 795914 w 1254402"/>
                <a:gd name="connsiteY162" fmla="*/ 4508 h 91439"/>
                <a:gd name="connsiteX163" fmla="*/ 795914 w 1254402"/>
                <a:gd name="connsiteY163" fmla="*/ 19318 h 91439"/>
                <a:gd name="connsiteX164" fmla="*/ 819740 w 1254402"/>
                <a:gd name="connsiteY164" fmla="*/ 19318 h 91439"/>
                <a:gd name="connsiteX165" fmla="*/ 819740 w 1254402"/>
                <a:gd name="connsiteY165" fmla="*/ 31553 h 91439"/>
                <a:gd name="connsiteX166" fmla="*/ 795914 w 1254402"/>
                <a:gd name="connsiteY166" fmla="*/ 31553 h 91439"/>
                <a:gd name="connsiteX167" fmla="*/ 898301 w 1254402"/>
                <a:gd name="connsiteY167" fmla="*/ 44432 h 91439"/>
                <a:gd name="connsiteX168" fmla="*/ 898301 w 1254402"/>
                <a:gd name="connsiteY168" fmla="*/ 70190 h 91439"/>
                <a:gd name="connsiteX169" fmla="*/ 883491 w 1254402"/>
                <a:gd name="connsiteY169" fmla="*/ 70190 h 91439"/>
                <a:gd name="connsiteX170" fmla="*/ 883491 w 1254402"/>
                <a:gd name="connsiteY170" fmla="*/ 63750 h 91439"/>
                <a:gd name="connsiteX171" fmla="*/ 852581 w 1254402"/>
                <a:gd name="connsiteY171" fmla="*/ 70834 h 91439"/>
                <a:gd name="connsiteX172" fmla="*/ 829400 w 1254402"/>
                <a:gd name="connsiteY172" fmla="*/ 54735 h 91439"/>
                <a:gd name="connsiteX173" fmla="*/ 860309 w 1254402"/>
                <a:gd name="connsiteY173" fmla="*/ 37349 h 91439"/>
                <a:gd name="connsiteX174" fmla="*/ 883491 w 1254402"/>
                <a:gd name="connsiteY174" fmla="*/ 41212 h 91439"/>
                <a:gd name="connsiteX175" fmla="*/ 864172 w 1254402"/>
                <a:gd name="connsiteY175" fmla="*/ 30909 h 91439"/>
                <a:gd name="connsiteX176" fmla="*/ 839059 w 1254402"/>
                <a:gd name="connsiteY176" fmla="*/ 34773 h 91439"/>
                <a:gd name="connsiteX177" fmla="*/ 833907 w 1254402"/>
                <a:gd name="connsiteY177" fmla="*/ 23826 h 91439"/>
                <a:gd name="connsiteX178" fmla="*/ 864816 w 1254402"/>
                <a:gd name="connsiteY178" fmla="*/ 18674 h 91439"/>
                <a:gd name="connsiteX179" fmla="*/ 898301 w 1254402"/>
                <a:gd name="connsiteY179" fmla="*/ 44432 h 91439"/>
                <a:gd name="connsiteX180" fmla="*/ 883491 w 1254402"/>
                <a:gd name="connsiteY180" fmla="*/ 50228 h 91439"/>
                <a:gd name="connsiteX181" fmla="*/ 862241 w 1254402"/>
                <a:gd name="connsiteY181" fmla="*/ 47008 h 91439"/>
                <a:gd name="connsiteX182" fmla="*/ 844854 w 1254402"/>
                <a:gd name="connsiteY182" fmla="*/ 54091 h 91439"/>
                <a:gd name="connsiteX183" fmla="*/ 857733 w 1254402"/>
                <a:gd name="connsiteY183" fmla="*/ 59887 h 91439"/>
                <a:gd name="connsiteX184" fmla="*/ 884135 w 1254402"/>
                <a:gd name="connsiteY184" fmla="*/ 54091 h 91439"/>
                <a:gd name="connsiteX185" fmla="*/ 884135 w 1254402"/>
                <a:gd name="connsiteY185" fmla="*/ 50228 h 91439"/>
                <a:gd name="connsiteX186" fmla="*/ 925347 w 1254402"/>
                <a:gd name="connsiteY186" fmla="*/ 644 h 91439"/>
                <a:gd name="connsiteX187" fmla="*/ 925347 w 1254402"/>
                <a:gd name="connsiteY187" fmla="*/ 69546 h 91439"/>
                <a:gd name="connsiteX188" fmla="*/ 910536 w 1254402"/>
                <a:gd name="connsiteY188" fmla="*/ 69546 h 91439"/>
                <a:gd name="connsiteX189" fmla="*/ 910536 w 1254402"/>
                <a:gd name="connsiteY189" fmla="*/ 644 h 91439"/>
                <a:gd name="connsiteX190" fmla="*/ 925347 w 1254402"/>
                <a:gd name="connsiteY190" fmla="*/ 644 h 91439"/>
                <a:gd name="connsiteX191" fmla="*/ 1009704 w 1254402"/>
                <a:gd name="connsiteY191" fmla="*/ 19318 h 91439"/>
                <a:gd name="connsiteX192" fmla="*/ 1030954 w 1254402"/>
                <a:gd name="connsiteY192" fmla="*/ 19318 h 91439"/>
                <a:gd name="connsiteX193" fmla="*/ 1030954 w 1254402"/>
                <a:gd name="connsiteY193" fmla="*/ 31553 h 91439"/>
                <a:gd name="connsiteX194" fmla="*/ 1009704 w 1254402"/>
                <a:gd name="connsiteY194" fmla="*/ 31553 h 91439"/>
                <a:gd name="connsiteX195" fmla="*/ 1009704 w 1254402"/>
                <a:gd name="connsiteY195" fmla="*/ 70190 h 91439"/>
                <a:gd name="connsiteX196" fmla="*/ 994893 w 1254402"/>
                <a:gd name="connsiteY196" fmla="*/ 70190 h 91439"/>
                <a:gd name="connsiteX197" fmla="*/ 994893 w 1254402"/>
                <a:gd name="connsiteY197" fmla="*/ 31553 h 91439"/>
                <a:gd name="connsiteX198" fmla="*/ 981370 w 1254402"/>
                <a:gd name="connsiteY198" fmla="*/ 31553 h 91439"/>
                <a:gd name="connsiteX199" fmla="*/ 981370 w 1254402"/>
                <a:gd name="connsiteY199" fmla="*/ 19318 h 91439"/>
                <a:gd name="connsiteX200" fmla="*/ 994893 w 1254402"/>
                <a:gd name="connsiteY200" fmla="*/ 19318 h 91439"/>
                <a:gd name="connsiteX201" fmla="*/ 994893 w 1254402"/>
                <a:gd name="connsiteY201" fmla="*/ 15455 h 91439"/>
                <a:gd name="connsiteX202" fmla="*/ 1016143 w 1254402"/>
                <a:gd name="connsiteY202" fmla="*/ 0 h 91439"/>
                <a:gd name="connsiteX203" fmla="*/ 1031598 w 1254402"/>
                <a:gd name="connsiteY203" fmla="*/ 644 h 91439"/>
                <a:gd name="connsiteX204" fmla="*/ 1031598 w 1254402"/>
                <a:gd name="connsiteY204" fmla="*/ 10947 h 91439"/>
                <a:gd name="connsiteX205" fmla="*/ 1021295 w 1254402"/>
                <a:gd name="connsiteY205" fmla="*/ 10303 h 91439"/>
                <a:gd name="connsiteX206" fmla="*/ 1009704 w 1254402"/>
                <a:gd name="connsiteY206" fmla="*/ 19318 h 91439"/>
                <a:gd name="connsiteX207" fmla="*/ 1056712 w 1254402"/>
                <a:gd name="connsiteY207" fmla="*/ 644 h 91439"/>
                <a:gd name="connsiteX208" fmla="*/ 1056712 w 1254402"/>
                <a:gd name="connsiteY208" fmla="*/ 69546 h 91439"/>
                <a:gd name="connsiteX209" fmla="*/ 1041901 w 1254402"/>
                <a:gd name="connsiteY209" fmla="*/ 69546 h 91439"/>
                <a:gd name="connsiteX210" fmla="*/ 1041901 w 1254402"/>
                <a:gd name="connsiteY210" fmla="*/ 644 h 91439"/>
                <a:gd name="connsiteX211" fmla="*/ 1056712 w 1254402"/>
                <a:gd name="connsiteY211" fmla="*/ 644 h 91439"/>
                <a:gd name="connsiteX212" fmla="*/ 1067659 w 1254402"/>
                <a:gd name="connsiteY212" fmla="*/ 44432 h 91439"/>
                <a:gd name="connsiteX213" fmla="*/ 1103076 w 1254402"/>
                <a:gd name="connsiteY213" fmla="*/ 18030 h 91439"/>
                <a:gd name="connsiteX214" fmla="*/ 1138493 w 1254402"/>
                <a:gd name="connsiteY214" fmla="*/ 44432 h 91439"/>
                <a:gd name="connsiteX215" fmla="*/ 1103076 w 1254402"/>
                <a:gd name="connsiteY215" fmla="*/ 70834 h 91439"/>
                <a:gd name="connsiteX216" fmla="*/ 1067659 w 1254402"/>
                <a:gd name="connsiteY216" fmla="*/ 44432 h 91439"/>
                <a:gd name="connsiteX217" fmla="*/ 1123038 w 1254402"/>
                <a:gd name="connsiteY217" fmla="*/ 44432 h 91439"/>
                <a:gd name="connsiteX218" fmla="*/ 1102432 w 1254402"/>
                <a:gd name="connsiteY218" fmla="*/ 30265 h 91439"/>
                <a:gd name="connsiteX219" fmla="*/ 1081825 w 1254402"/>
                <a:gd name="connsiteY219" fmla="*/ 44432 h 91439"/>
                <a:gd name="connsiteX220" fmla="*/ 1102432 w 1254402"/>
                <a:gd name="connsiteY220" fmla="*/ 58599 h 91439"/>
                <a:gd name="connsiteX221" fmla="*/ 1123038 w 1254402"/>
                <a:gd name="connsiteY221" fmla="*/ 44432 h 91439"/>
                <a:gd name="connsiteX222" fmla="*/ 1254402 w 1254402"/>
                <a:gd name="connsiteY222" fmla="*/ 19318 h 91439"/>
                <a:gd name="connsiteX223" fmla="*/ 1231864 w 1254402"/>
                <a:gd name="connsiteY223" fmla="*/ 70190 h 91439"/>
                <a:gd name="connsiteX224" fmla="*/ 1211902 w 1254402"/>
                <a:gd name="connsiteY224" fmla="*/ 70190 h 91439"/>
                <a:gd name="connsiteX225" fmla="*/ 1197091 w 1254402"/>
                <a:gd name="connsiteY225" fmla="*/ 34773 h 91439"/>
                <a:gd name="connsiteX226" fmla="*/ 1182281 w 1254402"/>
                <a:gd name="connsiteY226" fmla="*/ 70190 h 91439"/>
                <a:gd name="connsiteX227" fmla="*/ 1162318 w 1254402"/>
                <a:gd name="connsiteY227" fmla="*/ 70190 h 91439"/>
                <a:gd name="connsiteX228" fmla="*/ 1139780 w 1254402"/>
                <a:gd name="connsiteY228" fmla="*/ 19318 h 91439"/>
                <a:gd name="connsiteX229" fmla="*/ 1156523 w 1254402"/>
                <a:gd name="connsiteY229" fmla="*/ 19318 h 91439"/>
                <a:gd name="connsiteX230" fmla="*/ 1173265 w 1254402"/>
                <a:gd name="connsiteY230" fmla="*/ 58599 h 91439"/>
                <a:gd name="connsiteX231" fmla="*/ 1188720 w 1254402"/>
                <a:gd name="connsiteY231" fmla="*/ 19318 h 91439"/>
                <a:gd name="connsiteX232" fmla="*/ 1206107 w 1254402"/>
                <a:gd name="connsiteY232" fmla="*/ 19318 h 91439"/>
                <a:gd name="connsiteX233" fmla="*/ 1221561 w 1254402"/>
                <a:gd name="connsiteY233" fmla="*/ 57955 h 91439"/>
                <a:gd name="connsiteX234" fmla="*/ 1238304 w 1254402"/>
                <a:gd name="connsiteY234" fmla="*/ 18674 h 91439"/>
                <a:gd name="connsiteX235" fmla="*/ 1254402 w 1254402"/>
                <a:gd name="connsiteY235" fmla="*/ 18674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254402" h="91439">
                  <a:moveTo>
                    <a:pt x="70834" y="31553"/>
                  </a:moveTo>
                  <a:cubicBezTo>
                    <a:pt x="70834" y="45076"/>
                    <a:pt x="61175" y="53447"/>
                    <a:pt x="47652" y="53447"/>
                  </a:cubicBezTo>
                  <a:lnTo>
                    <a:pt x="15455" y="53447"/>
                  </a:lnTo>
                  <a:lnTo>
                    <a:pt x="15455" y="69546"/>
                  </a:lnTo>
                  <a:lnTo>
                    <a:pt x="0" y="69546"/>
                  </a:lnTo>
                  <a:lnTo>
                    <a:pt x="0" y="9015"/>
                  </a:lnTo>
                  <a:lnTo>
                    <a:pt x="47652" y="9015"/>
                  </a:lnTo>
                  <a:cubicBezTo>
                    <a:pt x="61175" y="9659"/>
                    <a:pt x="70834" y="18030"/>
                    <a:pt x="70834" y="31553"/>
                  </a:cubicBezTo>
                  <a:close/>
                  <a:moveTo>
                    <a:pt x="55379" y="31553"/>
                  </a:moveTo>
                  <a:cubicBezTo>
                    <a:pt x="55379" y="22538"/>
                    <a:pt x="48296" y="22538"/>
                    <a:pt x="43788" y="22538"/>
                  </a:cubicBezTo>
                  <a:lnTo>
                    <a:pt x="16099" y="22538"/>
                  </a:lnTo>
                  <a:lnTo>
                    <a:pt x="16099" y="40568"/>
                  </a:lnTo>
                  <a:lnTo>
                    <a:pt x="43144" y="40568"/>
                  </a:lnTo>
                  <a:cubicBezTo>
                    <a:pt x="48296" y="40568"/>
                    <a:pt x="55379" y="40568"/>
                    <a:pt x="55379" y="31553"/>
                  </a:cubicBezTo>
                  <a:close/>
                  <a:moveTo>
                    <a:pt x="79849" y="44432"/>
                  </a:moveTo>
                  <a:cubicBezTo>
                    <a:pt x="79849" y="25758"/>
                    <a:pt x="94016" y="18030"/>
                    <a:pt x="115266" y="18030"/>
                  </a:cubicBezTo>
                  <a:cubicBezTo>
                    <a:pt x="136516" y="18030"/>
                    <a:pt x="150683" y="25758"/>
                    <a:pt x="150683" y="44432"/>
                  </a:cubicBezTo>
                  <a:cubicBezTo>
                    <a:pt x="150683" y="63106"/>
                    <a:pt x="136516" y="70834"/>
                    <a:pt x="115266" y="70834"/>
                  </a:cubicBezTo>
                  <a:cubicBezTo>
                    <a:pt x="94016" y="70834"/>
                    <a:pt x="79849" y="63106"/>
                    <a:pt x="79849" y="44432"/>
                  </a:cubicBezTo>
                  <a:close/>
                  <a:moveTo>
                    <a:pt x="135228" y="44432"/>
                  </a:moveTo>
                  <a:cubicBezTo>
                    <a:pt x="135228" y="34129"/>
                    <a:pt x="128789" y="30265"/>
                    <a:pt x="114622" y="30265"/>
                  </a:cubicBezTo>
                  <a:cubicBezTo>
                    <a:pt x="101099" y="30265"/>
                    <a:pt x="94016" y="33485"/>
                    <a:pt x="94016" y="44432"/>
                  </a:cubicBezTo>
                  <a:cubicBezTo>
                    <a:pt x="94016" y="54735"/>
                    <a:pt x="100455" y="58599"/>
                    <a:pt x="114622" y="58599"/>
                  </a:cubicBezTo>
                  <a:cubicBezTo>
                    <a:pt x="128789" y="58599"/>
                    <a:pt x="135228" y="54735"/>
                    <a:pt x="135228" y="44432"/>
                  </a:cubicBezTo>
                  <a:close/>
                  <a:moveTo>
                    <a:pt x="173221" y="52159"/>
                  </a:moveTo>
                  <a:cubicBezTo>
                    <a:pt x="173221" y="57311"/>
                    <a:pt x="179016" y="59887"/>
                    <a:pt x="195115" y="59887"/>
                  </a:cubicBezTo>
                  <a:cubicBezTo>
                    <a:pt x="211214" y="59887"/>
                    <a:pt x="213789" y="58599"/>
                    <a:pt x="213789" y="54735"/>
                  </a:cubicBezTo>
                  <a:cubicBezTo>
                    <a:pt x="213789" y="50872"/>
                    <a:pt x="211214" y="50872"/>
                    <a:pt x="193827" y="49584"/>
                  </a:cubicBezTo>
                  <a:cubicBezTo>
                    <a:pt x="171289" y="48296"/>
                    <a:pt x="160342" y="46364"/>
                    <a:pt x="160342" y="34129"/>
                  </a:cubicBezTo>
                  <a:cubicBezTo>
                    <a:pt x="160342" y="20606"/>
                    <a:pt x="175797" y="18674"/>
                    <a:pt x="193827" y="18674"/>
                  </a:cubicBezTo>
                  <a:cubicBezTo>
                    <a:pt x="213145" y="18674"/>
                    <a:pt x="226668" y="21250"/>
                    <a:pt x="226668" y="35417"/>
                  </a:cubicBezTo>
                  <a:lnTo>
                    <a:pt x="211857" y="35417"/>
                  </a:lnTo>
                  <a:cubicBezTo>
                    <a:pt x="211857" y="30909"/>
                    <a:pt x="206706" y="30265"/>
                    <a:pt x="192539" y="30265"/>
                  </a:cubicBezTo>
                  <a:cubicBezTo>
                    <a:pt x="178372" y="30265"/>
                    <a:pt x="174509" y="31553"/>
                    <a:pt x="174509" y="34129"/>
                  </a:cubicBezTo>
                  <a:cubicBezTo>
                    <a:pt x="174509" y="37349"/>
                    <a:pt x="177085" y="37993"/>
                    <a:pt x="194471" y="39281"/>
                  </a:cubicBezTo>
                  <a:cubicBezTo>
                    <a:pt x="214433" y="40568"/>
                    <a:pt x="227956" y="41212"/>
                    <a:pt x="227956" y="54735"/>
                  </a:cubicBezTo>
                  <a:cubicBezTo>
                    <a:pt x="227956" y="68902"/>
                    <a:pt x="215077" y="71478"/>
                    <a:pt x="195759" y="71478"/>
                  </a:cubicBezTo>
                  <a:cubicBezTo>
                    <a:pt x="176441" y="71478"/>
                    <a:pt x="158410" y="68902"/>
                    <a:pt x="158410" y="52803"/>
                  </a:cubicBezTo>
                  <a:lnTo>
                    <a:pt x="173221" y="52803"/>
                  </a:lnTo>
                  <a:close/>
                  <a:moveTo>
                    <a:pt x="254358" y="644"/>
                  </a:moveTo>
                  <a:lnTo>
                    <a:pt x="254358" y="13523"/>
                  </a:lnTo>
                  <a:lnTo>
                    <a:pt x="239547" y="13523"/>
                  </a:lnTo>
                  <a:lnTo>
                    <a:pt x="239547" y="644"/>
                  </a:lnTo>
                  <a:lnTo>
                    <a:pt x="254358" y="644"/>
                  </a:lnTo>
                  <a:close/>
                  <a:moveTo>
                    <a:pt x="254358" y="19318"/>
                  </a:moveTo>
                  <a:lnTo>
                    <a:pt x="254358" y="70190"/>
                  </a:lnTo>
                  <a:lnTo>
                    <a:pt x="239547" y="70190"/>
                  </a:lnTo>
                  <a:lnTo>
                    <a:pt x="239547" y="19318"/>
                  </a:lnTo>
                  <a:lnTo>
                    <a:pt x="254358" y="19318"/>
                  </a:lnTo>
                  <a:close/>
                  <a:moveTo>
                    <a:pt x="292994" y="31553"/>
                  </a:moveTo>
                  <a:lnTo>
                    <a:pt x="292994" y="46364"/>
                  </a:lnTo>
                  <a:cubicBezTo>
                    <a:pt x="292994" y="56023"/>
                    <a:pt x="294926" y="58599"/>
                    <a:pt x="303941" y="58599"/>
                  </a:cubicBezTo>
                  <a:cubicBezTo>
                    <a:pt x="308449" y="58599"/>
                    <a:pt x="311025" y="58599"/>
                    <a:pt x="316820" y="57955"/>
                  </a:cubicBezTo>
                  <a:lnTo>
                    <a:pt x="316820" y="69546"/>
                  </a:lnTo>
                  <a:cubicBezTo>
                    <a:pt x="311669" y="70190"/>
                    <a:pt x="306517" y="70834"/>
                    <a:pt x="299434" y="70834"/>
                  </a:cubicBezTo>
                  <a:cubicBezTo>
                    <a:pt x="286555" y="70834"/>
                    <a:pt x="278184" y="65682"/>
                    <a:pt x="278184" y="54735"/>
                  </a:cubicBezTo>
                  <a:lnTo>
                    <a:pt x="278184" y="31553"/>
                  </a:lnTo>
                  <a:lnTo>
                    <a:pt x="264661" y="31553"/>
                  </a:lnTo>
                  <a:lnTo>
                    <a:pt x="264661" y="19318"/>
                  </a:lnTo>
                  <a:lnTo>
                    <a:pt x="278184" y="19318"/>
                  </a:lnTo>
                  <a:lnTo>
                    <a:pt x="278184" y="9015"/>
                  </a:lnTo>
                  <a:lnTo>
                    <a:pt x="292994" y="4508"/>
                  </a:lnTo>
                  <a:lnTo>
                    <a:pt x="292994" y="19318"/>
                  </a:lnTo>
                  <a:lnTo>
                    <a:pt x="316820" y="19318"/>
                  </a:lnTo>
                  <a:lnTo>
                    <a:pt x="316820" y="31553"/>
                  </a:lnTo>
                  <a:lnTo>
                    <a:pt x="292994" y="31553"/>
                  </a:lnTo>
                  <a:close/>
                  <a:moveTo>
                    <a:pt x="342578" y="644"/>
                  </a:moveTo>
                  <a:lnTo>
                    <a:pt x="342578" y="13523"/>
                  </a:lnTo>
                  <a:lnTo>
                    <a:pt x="327767" y="13523"/>
                  </a:lnTo>
                  <a:lnTo>
                    <a:pt x="327767" y="644"/>
                  </a:lnTo>
                  <a:lnTo>
                    <a:pt x="342578" y="644"/>
                  </a:lnTo>
                  <a:close/>
                  <a:moveTo>
                    <a:pt x="342578" y="19318"/>
                  </a:moveTo>
                  <a:lnTo>
                    <a:pt x="342578" y="70190"/>
                  </a:lnTo>
                  <a:lnTo>
                    <a:pt x="327767" y="70190"/>
                  </a:lnTo>
                  <a:lnTo>
                    <a:pt x="327767" y="19318"/>
                  </a:lnTo>
                  <a:lnTo>
                    <a:pt x="342578" y="19318"/>
                  </a:lnTo>
                  <a:close/>
                  <a:moveTo>
                    <a:pt x="424359" y="19318"/>
                  </a:moveTo>
                  <a:lnTo>
                    <a:pt x="398601" y="70190"/>
                  </a:lnTo>
                  <a:lnTo>
                    <a:pt x="377995" y="70190"/>
                  </a:lnTo>
                  <a:lnTo>
                    <a:pt x="352237" y="19318"/>
                  </a:lnTo>
                  <a:lnTo>
                    <a:pt x="368336" y="19318"/>
                  </a:lnTo>
                  <a:lnTo>
                    <a:pt x="388298" y="59887"/>
                  </a:lnTo>
                  <a:lnTo>
                    <a:pt x="408260" y="19318"/>
                  </a:lnTo>
                  <a:lnTo>
                    <a:pt x="424359" y="19318"/>
                  </a:lnTo>
                  <a:close/>
                  <a:moveTo>
                    <a:pt x="481670" y="51515"/>
                  </a:moveTo>
                  <a:lnTo>
                    <a:pt x="496481" y="51515"/>
                  </a:lnTo>
                  <a:cubicBezTo>
                    <a:pt x="493261" y="64394"/>
                    <a:pt x="480382" y="70834"/>
                    <a:pt x="461708" y="70834"/>
                  </a:cubicBezTo>
                  <a:cubicBezTo>
                    <a:pt x="442389" y="70834"/>
                    <a:pt x="427579" y="63106"/>
                    <a:pt x="427579" y="44432"/>
                  </a:cubicBezTo>
                  <a:cubicBezTo>
                    <a:pt x="427579" y="25758"/>
                    <a:pt x="442389" y="18030"/>
                    <a:pt x="462995" y="18030"/>
                  </a:cubicBezTo>
                  <a:cubicBezTo>
                    <a:pt x="482314" y="18030"/>
                    <a:pt x="497768" y="24470"/>
                    <a:pt x="497768" y="47652"/>
                  </a:cubicBezTo>
                  <a:lnTo>
                    <a:pt x="442389" y="47652"/>
                  </a:lnTo>
                  <a:cubicBezTo>
                    <a:pt x="444321" y="56023"/>
                    <a:pt x="452048" y="58599"/>
                    <a:pt x="461708" y="58599"/>
                  </a:cubicBezTo>
                  <a:cubicBezTo>
                    <a:pt x="471367" y="58599"/>
                    <a:pt x="477806" y="56667"/>
                    <a:pt x="481670" y="51515"/>
                  </a:cubicBezTo>
                  <a:close/>
                  <a:moveTo>
                    <a:pt x="442389" y="38637"/>
                  </a:moveTo>
                  <a:lnTo>
                    <a:pt x="481026" y="38637"/>
                  </a:lnTo>
                  <a:cubicBezTo>
                    <a:pt x="478450" y="31553"/>
                    <a:pt x="471367" y="29621"/>
                    <a:pt x="461708" y="29621"/>
                  </a:cubicBezTo>
                  <a:cubicBezTo>
                    <a:pt x="452048" y="29621"/>
                    <a:pt x="444965" y="31553"/>
                    <a:pt x="442389" y="38637"/>
                  </a:cubicBezTo>
                  <a:close/>
                  <a:moveTo>
                    <a:pt x="622694" y="644"/>
                  </a:moveTo>
                  <a:lnTo>
                    <a:pt x="622694" y="69546"/>
                  </a:lnTo>
                  <a:lnTo>
                    <a:pt x="607883" y="69546"/>
                  </a:lnTo>
                  <a:lnTo>
                    <a:pt x="607883" y="61819"/>
                  </a:lnTo>
                  <a:cubicBezTo>
                    <a:pt x="602087" y="67614"/>
                    <a:pt x="593716" y="70834"/>
                    <a:pt x="582769" y="70834"/>
                  </a:cubicBezTo>
                  <a:cubicBezTo>
                    <a:pt x="566670" y="70834"/>
                    <a:pt x="552504" y="63750"/>
                    <a:pt x="552504" y="44432"/>
                  </a:cubicBezTo>
                  <a:cubicBezTo>
                    <a:pt x="552504" y="25114"/>
                    <a:pt x="566670" y="18030"/>
                    <a:pt x="582769" y="18030"/>
                  </a:cubicBezTo>
                  <a:cubicBezTo>
                    <a:pt x="593716" y="18030"/>
                    <a:pt x="602731" y="21250"/>
                    <a:pt x="607883" y="27046"/>
                  </a:cubicBezTo>
                  <a:lnTo>
                    <a:pt x="607883" y="644"/>
                  </a:lnTo>
                  <a:lnTo>
                    <a:pt x="622694" y="644"/>
                  </a:lnTo>
                  <a:close/>
                  <a:moveTo>
                    <a:pt x="607883" y="44432"/>
                  </a:moveTo>
                  <a:cubicBezTo>
                    <a:pt x="607883" y="34129"/>
                    <a:pt x="600800" y="30265"/>
                    <a:pt x="587277" y="30265"/>
                  </a:cubicBezTo>
                  <a:cubicBezTo>
                    <a:pt x="574398" y="30265"/>
                    <a:pt x="566670" y="34129"/>
                    <a:pt x="566670" y="44432"/>
                  </a:cubicBezTo>
                  <a:cubicBezTo>
                    <a:pt x="566670" y="54735"/>
                    <a:pt x="573754" y="58599"/>
                    <a:pt x="587277" y="58599"/>
                  </a:cubicBezTo>
                  <a:cubicBezTo>
                    <a:pt x="600800" y="58599"/>
                    <a:pt x="607883" y="54735"/>
                    <a:pt x="607883" y="44432"/>
                  </a:cubicBezTo>
                  <a:close/>
                  <a:moveTo>
                    <a:pt x="649739" y="644"/>
                  </a:moveTo>
                  <a:lnTo>
                    <a:pt x="649739" y="13523"/>
                  </a:lnTo>
                  <a:lnTo>
                    <a:pt x="634928" y="13523"/>
                  </a:lnTo>
                  <a:lnTo>
                    <a:pt x="634928" y="644"/>
                  </a:lnTo>
                  <a:lnTo>
                    <a:pt x="649739" y="644"/>
                  </a:lnTo>
                  <a:close/>
                  <a:moveTo>
                    <a:pt x="649739" y="19318"/>
                  </a:moveTo>
                  <a:lnTo>
                    <a:pt x="649739" y="70190"/>
                  </a:lnTo>
                  <a:lnTo>
                    <a:pt x="634928" y="70190"/>
                  </a:lnTo>
                  <a:lnTo>
                    <a:pt x="634928" y="19318"/>
                  </a:lnTo>
                  <a:lnTo>
                    <a:pt x="649739" y="19318"/>
                  </a:lnTo>
                  <a:close/>
                  <a:moveTo>
                    <a:pt x="730876" y="19318"/>
                  </a:moveTo>
                  <a:lnTo>
                    <a:pt x="730876" y="61819"/>
                  </a:lnTo>
                  <a:cubicBezTo>
                    <a:pt x="730876" y="82425"/>
                    <a:pt x="716709" y="91440"/>
                    <a:pt x="698035" y="91440"/>
                  </a:cubicBezTo>
                  <a:cubicBezTo>
                    <a:pt x="683224" y="91440"/>
                    <a:pt x="670989" y="88864"/>
                    <a:pt x="666482" y="87576"/>
                  </a:cubicBezTo>
                  <a:lnTo>
                    <a:pt x="666482" y="75985"/>
                  </a:lnTo>
                  <a:cubicBezTo>
                    <a:pt x="672277" y="77273"/>
                    <a:pt x="683868" y="79849"/>
                    <a:pt x="694815" y="79849"/>
                  </a:cubicBezTo>
                  <a:cubicBezTo>
                    <a:pt x="710270" y="79849"/>
                    <a:pt x="716065" y="74053"/>
                    <a:pt x="716065" y="61175"/>
                  </a:cubicBezTo>
                  <a:cubicBezTo>
                    <a:pt x="710914" y="66970"/>
                    <a:pt x="702543" y="70190"/>
                    <a:pt x="690308" y="70190"/>
                  </a:cubicBezTo>
                  <a:cubicBezTo>
                    <a:pt x="672921" y="70190"/>
                    <a:pt x="660686" y="62463"/>
                    <a:pt x="660686" y="44432"/>
                  </a:cubicBezTo>
                  <a:cubicBezTo>
                    <a:pt x="660686" y="26402"/>
                    <a:pt x="672921" y="18674"/>
                    <a:pt x="690308" y="18674"/>
                  </a:cubicBezTo>
                  <a:cubicBezTo>
                    <a:pt x="702543" y="18674"/>
                    <a:pt x="710914" y="21894"/>
                    <a:pt x="716065" y="27690"/>
                  </a:cubicBezTo>
                  <a:lnTo>
                    <a:pt x="716065" y="19318"/>
                  </a:lnTo>
                  <a:lnTo>
                    <a:pt x="730876" y="19318"/>
                  </a:lnTo>
                  <a:close/>
                  <a:moveTo>
                    <a:pt x="715421" y="43788"/>
                  </a:moveTo>
                  <a:cubicBezTo>
                    <a:pt x="715421" y="34773"/>
                    <a:pt x="708982" y="30909"/>
                    <a:pt x="694815" y="30909"/>
                  </a:cubicBezTo>
                  <a:cubicBezTo>
                    <a:pt x="680648" y="30909"/>
                    <a:pt x="674209" y="34773"/>
                    <a:pt x="674209" y="43788"/>
                  </a:cubicBezTo>
                  <a:cubicBezTo>
                    <a:pt x="674209" y="52803"/>
                    <a:pt x="680648" y="56667"/>
                    <a:pt x="694815" y="56667"/>
                  </a:cubicBezTo>
                  <a:cubicBezTo>
                    <a:pt x="708982" y="56667"/>
                    <a:pt x="715421" y="52803"/>
                    <a:pt x="715421" y="43788"/>
                  </a:cubicBezTo>
                  <a:close/>
                  <a:moveTo>
                    <a:pt x="757278" y="644"/>
                  </a:moveTo>
                  <a:lnTo>
                    <a:pt x="757278" y="13523"/>
                  </a:lnTo>
                  <a:lnTo>
                    <a:pt x="742467" y="13523"/>
                  </a:lnTo>
                  <a:lnTo>
                    <a:pt x="742467" y="644"/>
                  </a:lnTo>
                  <a:lnTo>
                    <a:pt x="757278" y="644"/>
                  </a:lnTo>
                  <a:close/>
                  <a:moveTo>
                    <a:pt x="757278" y="19318"/>
                  </a:moveTo>
                  <a:lnTo>
                    <a:pt x="757278" y="70190"/>
                  </a:lnTo>
                  <a:lnTo>
                    <a:pt x="742467" y="70190"/>
                  </a:lnTo>
                  <a:lnTo>
                    <a:pt x="742467" y="19318"/>
                  </a:lnTo>
                  <a:lnTo>
                    <a:pt x="757278" y="19318"/>
                  </a:lnTo>
                  <a:close/>
                  <a:moveTo>
                    <a:pt x="795914" y="31553"/>
                  </a:moveTo>
                  <a:lnTo>
                    <a:pt x="795914" y="46364"/>
                  </a:lnTo>
                  <a:cubicBezTo>
                    <a:pt x="795914" y="56023"/>
                    <a:pt x="797846" y="58599"/>
                    <a:pt x="806861" y="58599"/>
                  </a:cubicBezTo>
                  <a:cubicBezTo>
                    <a:pt x="811369" y="58599"/>
                    <a:pt x="813945" y="58599"/>
                    <a:pt x="819740" y="57955"/>
                  </a:cubicBezTo>
                  <a:lnTo>
                    <a:pt x="819740" y="69546"/>
                  </a:lnTo>
                  <a:cubicBezTo>
                    <a:pt x="814589" y="70190"/>
                    <a:pt x="809437" y="70834"/>
                    <a:pt x="802354" y="70834"/>
                  </a:cubicBezTo>
                  <a:cubicBezTo>
                    <a:pt x="789475" y="70834"/>
                    <a:pt x="781104" y="65682"/>
                    <a:pt x="781104" y="54735"/>
                  </a:cubicBezTo>
                  <a:lnTo>
                    <a:pt x="781104" y="31553"/>
                  </a:lnTo>
                  <a:lnTo>
                    <a:pt x="767581" y="31553"/>
                  </a:lnTo>
                  <a:lnTo>
                    <a:pt x="767581" y="19318"/>
                  </a:lnTo>
                  <a:lnTo>
                    <a:pt x="781104" y="19318"/>
                  </a:lnTo>
                  <a:lnTo>
                    <a:pt x="781104" y="9015"/>
                  </a:lnTo>
                  <a:lnTo>
                    <a:pt x="795914" y="4508"/>
                  </a:lnTo>
                  <a:lnTo>
                    <a:pt x="795914" y="19318"/>
                  </a:lnTo>
                  <a:lnTo>
                    <a:pt x="819740" y="19318"/>
                  </a:lnTo>
                  <a:lnTo>
                    <a:pt x="819740" y="31553"/>
                  </a:lnTo>
                  <a:lnTo>
                    <a:pt x="795914" y="31553"/>
                  </a:lnTo>
                  <a:close/>
                  <a:moveTo>
                    <a:pt x="898301" y="44432"/>
                  </a:moveTo>
                  <a:lnTo>
                    <a:pt x="898301" y="70190"/>
                  </a:lnTo>
                  <a:lnTo>
                    <a:pt x="883491" y="70190"/>
                  </a:lnTo>
                  <a:lnTo>
                    <a:pt x="883491" y="63750"/>
                  </a:lnTo>
                  <a:cubicBezTo>
                    <a:pt x="874476" y="68258"/>
                    <a:pt x="864816" y="70834"/>
                    <a:pt x="852581" y="70834"/>
                  </a:cubicBezTo>
                  <a:cubicBezTo>
                    <a:pt x="838415" y="70834"/>
                    <a:pt x="829400" y="66326"/>
                    <a:pt x="829400" y="54735"/>
                  </a:cubicBezTo>
                  <a:cubicBezTo>
                    <a:pt x="829400" y="41856"/>
                    <a:pt x="843566" y="37349"/>
                    <a:pt x="860309" y="37349"/>
                  </a:cubicBezTo>
                  <a:cubicBezTo>
                    <a:pt x="869324" y="37349"/>
                    <a:pt x="877051" y="38637"/>
                    <a:pt x="883491" y="41212"/>
                  </a:cubicBezTo>
                  <a:cubicBezTo>
                    <a:pt x="883491" y="31553"/>
                    <a:pt x="871256" y="30909"/>
                    <a:pt x="864172" y="30909"/>
                  </a:cubicBezTo>
                  <a:cubicBezTo>
                    <a:pt x="857733" y="30909"/>
                    <a:pt x="849362" y="31553"/>
                    <a:pt x="839059" y="34773"/>
                  </a:cubicBezTo>
                  <a:lnTo>
                    <a:pt x="833907" y="23826"/>
                  </a:lnTo>
                  <a:cubicBezTo>
                    <a:pt x="844210" y="20606"/>
                    <a:pt x="854513" y="18674"/>
                    <a:pt x="864816" y="18674"/>
                  </a:cubicBezTo>
                  <a:cubicBezTo>
                    <a:pt x="886066" y="18030"/>
                    <a:pt x="898301" y="25114"/>
                    <a:pt x="898301" y="44432"/>
                  </a:cubicBezTo>
                  <a:close/>
                  <a:moveTo>
                    <a:pt x="883491" y="50228"/>
                  </a:moveTo>
                  <a:cubicBezTo>
                    <a:pt x="878339" y="48296"/>
                    <a:pt x="871256" y="47008"/>
                    <a:pt x="862241" y="47008"/>
                  </a:cubicBezTo>
                  <a:cubicBezTo>
                    <a:pt x="851294" y="47008"/>
                    <a:pt x="844854" y="48940"/>
                    <a:pt x="844854" y="54091"/>
                  </a:cubicBezTo>
                  <a:cubicBezTo>
                    <a:pt x="844854" y="59243"/>
                    <a:pt x="850006" y="59887"/>
                    <a:pt x="857733" y="59887"/>
                  </a:cubicBezTo>
                  <a:cubicBezTo>
                    <a:pt x="865460" y="59887"/>
                    <a:pt x="877051" y="57311"/>
                    <a:pt x="884135" y="54091"/>
                  </a:cubicBezTo>
                  <a:lnTo>
                    <a:pt x="884135" y="50228"/>
                  </a:lnTo>
                  <a:close/>
                  <a:moveTo>
                    <a:pt x="925347" y="644"/>
                  </a:moveTo>
                  <a:lnTo>
                    <a:pt x="925347" y="69546"/>
                  </a:lnTo>
                  <a:lnTo>
                    <a:pt x="910536" y="69546"/>
                  </a:lnTo>
                  <a:lnTo>
                    <a:pt x="910536" y="644"/>
                  </a:lnTo>
                  <a:lnTo>
                    <a:pt x="925347" y="644"/>
                  </a:lnTo>
                  <a:close/>
                  <a:moveTo>
                    <a:pt x="1009704" y="19318"/>
                  </a:moveTo>
                  <a:lnTo>
                    <a:pt x="1030954" y="19318"/>
                  </a:lnTo>
                  <a:lnTo>
                    <a:pt x="1030954" y="31553"/>
                  </a:lnTo>
                  <a:lnTo>
                    <a:pt x="1009704" y="31553"/>
                  </a:lnTo>
                  <a:lnTo>
                    <a:pt x="1009704" y="70190"/>
                  </a:lnTo>
                  <a:lnTo>
                    <a:pt x="994893" y="70190"/>
                  </a:lnTo>
                  <a:lnTo>
                    <a:pt x="994893" y="31553"/>
                  </a:lnTo>
                  <a:lnTo>
                    <a:pt x="981370" y="31553"/>
                  </a:lnTo>
                  <a:lnTo>
                    <a:pt x="981370" y="19318"/>
                  </a:lnTo>
                  <a:lnTo>
                    <a:pt x="994893" y="19318"/>
                  </a:lnTo>
                  <a:lnTo>
                    <a:pt x="994893" y="15455"/>
                  </a:lnTo>
                  <a:cubicBezTo>
                    <a:pt x="994893" y="5152"/>
                    <a:pt x="1001332" y="0"/>
                    <a:pt x="1016143" y="0"/>
                  </a:cubicBezTo>
                  <a:cubicBezTo>
                    <a:pt x="1021295" y="0"/>
                    <a:pt x="1023870" y="0"/>
                    <a:pt x="1031598" y="644"/>
                  </a:cubicBezTo>
                  <a:lnTo>
                    <a:pt x="1031598" y="10947"/>
                  </a:lnTo>
                  <a:cubicBezTo>
                    <a:pt x="1028378" y="10947"/>
                    <a:pt x="1024514" y="10303"/>
                    <a:pt x="1021295" y="10303"/>
                  </a:cubicBezTo>
                  <a:cubicBezTo>
                    <a:pt x="1012279" y="10947"/>
                    <a:pt x="1009704" y="12879"/>
                    <a:pt x="1009704" y="19318"/>
                  </a:cubicBezTo>
                  <a:close/>
                  <a:moveTo>
                    <a:pt x="1056712" y="644"/>
                  </a:moveTo>
                  <a:lnTo>
                    <a:pt x="1056712" y="69546"/>
                  </a:lnTo>
                  <a:lnTo>
                    <a:pt x="1041901" y="69546"/>
                  </a:lnTo>
                  <a:lnTo>
                    <a:pt x="1041901" y="644"/>
                  </a:lnTo>
                  <a:lnTo>
                    <a:pt x="1056712" y="644"/>
                  </a:lnTo>
                  <a:close/>
                  <a:moveTo>
                    <a:pt x="1067659" y="44432"/>
                  </a:moveTo>
                  <a:cubicBezTo>
                    <a:pt x="1067659" y="25758"/>
                    <a:pt x="1081825" y="18030"/>
                    <a:pt x="1103076" y="18030"/>
                  </a:cubicBezTo>
                  <a:cubicBezTo>
                    <a:pt x="1124326" y="18030"/>
                    <a:pt x="1138493" y="25758"/>
                    <a:pt x="1138493" y="44432"/>
                  </a:cubicBezTo>
                  <a:cubicBezTo>
                    <a:pt x="1138493" y="63106"/>
                    <a:pt x="1124326" y="70834"/>
                    <a:pt x="1103076" y="70834"/>
                  </a:cubicBezTo>
                  <a:cubicBezTo>
                    <a:pt x="1081825" y="70834"/>
                    <a:pt x="1067659" y="63106"/>
                    <a:pt x="1067659" y="44432"/>
                  </a:cubicBezTo>
                  <a:close/>
                  <a:moveTo>
                    <a:pt x="1123038" y="44432"/>
                  </a:moveTo>
                  <a:cubicBezTo>
                    <a:pt x="1123038" y="34129"/>
                    <a:pt x="1116598" y="30265"/>
                    <a:pt x="1102432" y="30265"/>
                  </a:cubicBezTo>
                  <a:cubicBezTo>
                    <a:pt x="1088909" y="30265"/>
                    <a:pt x="1081825" y="33485"/>
                    <a:pt x="1081825" y="44432"/>
                  </a:cubicBezTo>
                  <a:cubicBezTo>
                    <a:pt x="1081825" y="54735"/>
                    <a:pt x="1088265" y="58599"/>
                    <a:pt x="1102432" y="58599"/>
                  </a:cubicBezTo>
                  <a:cubicBezTo>
                    <a:pt x="1115954" y="58599"/>
                    <a:pt x="1123038" y="54735"/>
                    <a:pt x="1123038" y="44432"/>
                  </a:cubicBezTo>
                  <a:close/>
                  <a:moveTo>
                    <a:pt x="1254402" y="19318"/>
                  </a:moveTo>
                  <a:lnTo>
                    <a:pt x="1231864" y="70190"/>
                  </a:lnTo>
                  <a:lnTo>
                    <a:pt x="1211902" y="70190"/>
                  </a:lnTo>
                  <a:lnTo>
                    <a:pt x="1197091" y="34773"/>
                  </a:lnTo>
                  <a:lnTo>
                    <a:pt x="1182281" y="70190"/>
                  </a:lnTo>
                  <a:lnTo>
                    <a:pt x="1162318" y="70190"/>
                  </a:lnTo>
                  <a:lnTo>
                    <a:pt x="1139780" y="19318"/>
                  </a:lnTo>
                  <a:lnTo>
                    <a:pt x="1156523" y="19318"/>
                  </a:lnTo>
                  <a:lnTo>
                    <a:pt x="1173265" y="58599"/>
                  </a:lnTo>
                  <a:lnTo>
                    <a:pt x="1188720" y="19318"/>
                  </a:lnTo>
                  <a:lnTo>
                    <a:pt x="1206107" y="19318"/>
                  </a:lnTo>
                  <a:lnTo>
                    <a:pt x="1221561" y="57955"/>
                  </a:lnTo>
                  <a:lnTo>
                    <a:pt x="1238304" y="18674"/>
                  </a:lnTo>
                  <a:lnTo>
                    <a:pt x="1254402" y="18674"/>
                  </a:lnTo>
                  <a:close/>
                </a:path>
              </a:pathLst>
            </a:custGeom>
            <a:solidFill>
              <a:srgbClr val="00AA9B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731"/>
            </a:p>
          </p:txBody>
        </p:sp>
        <p:grpSp>
          <p:nvGrpSpPr>
            <p:cNvPr id="40" name="Graphique 30">
              <a:extLst>
                <a:ext uri="{FF2B5EF4-FFF2-40B4-BE49-F238E27FC236}">
                  <a16:creationId xmlns:a16="http://schemas.microsoft.com/office/drawing/2014/main" id="{C1A2F515-8375-4C33-99AF-323CF12CD29D}"/>
                </a:ext>
              </a:extLst>
            </p:cNvPr>
            <p:cNvGrpSpPr/>
            <p:nvPr/>
          </p:nvGrpSpPr>
          <p:grpSpPr>
            <a:xfrm>
              <a:off x="6756400" y="5334000"/>
              <a:ext cx="1824936" cy="273031"/>
              <a:chOff x="6756400" y="5334000"/>
              <a:chExt cx="1824936" cy="273031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61F09EFB-CB0B-4FBD-B3D9-8948AB4B0676}"/>
                  </a:ext>
                </a:extLst>
              </p:cNvPr>
              <p:cNvSpPr/>
              <p:nvPr/>
            </p:nvSpPr>
            <p:spPr>
              <a:xfrm>
                <a:off x="6756400" y="5334000"/>
                <a:ext cx="1533229" cy="273031"/>
              </a:xfrm>
              <a:custGeom>
                <a:avLst/>
                <a:gdLst>
                  <a:gd name="connsiteX0" fmla="*/ 358677 w 1533229"/>
                  <a:gd name="connsiteY0" fmla="*/ 169357 h 273031"/>
                  <a:gd name="connsiteX1" fmla="*/ 358677 w 1533229"/>
                  <a:gd name="connsiteY1" fmla="*/ 269168 h 273031"/>
                  <a:gd name="connsiteX2" fmla="*/ 285267 w 1533229"/>
                  <a:gd name="connsiteY2" fmla="*/ 269168 h 273031"/>
                  <a:gd name="connsiteX3" fmla="*/ 285267 w 1533229"/>
                  <a:gd name="connsiteY3" fmla="*/ 198978 h 273031"/>
                  <a:gd name="connsiteX4" fmla="*/ 242123 w 1533229"/>
                  <a:gd name="connsiteY4" fmla="*/ 154546 h 273031"/>
                  <a:gd name="connsiteX5" fmla="*/ 183524 w 1533229"/>
                  <a:gd name="connsiteY5" fmla="*/ 177728 h 273031"/>
                  <a:gd name="connsiteX6" fmla="*/ 183524 w 1533229"/>
                  <a:gd name="connsiteY6" fmla="*/ 269812 h 273031"/>
                  <a:gd name="connsiteX7" fmla="*/ 110758 w 1533229"/>
                  <a:gd name="connsiteY7" fmla="*/ 269812 h 273031"/>
                  <a:gd name="connsiteX8" fmla="*/ 110758 w 1533229"/>
                  <a:gd name="connsiteY8" fmla="*/ 92084 h 273031"/>
                  <a:gd name="connsiteX9" fmla="*/ 183524 w 1533229"/>
                  <a:gd name="connsiteY9" fmla="*/ 92084 h 273031"/>
                  <a:gd name="connsiteX10" fmla="*/ 183524 w 1533229"/>
                  <a:gd name="connsiteY10" fmla="*/ 117842 h 273031"/>
                  <a:gd name="connsiteX11" fmla="*/ 271744 w 1533229"/>
                  <a:gd name="connsiteY11" fmla="*/ 90152 h 273031"/>
                  <a:gd name="connsiteX12" fmla="*/ 358677 w 1533229"/>
                  <a:gd name="connsiteY12" fmla="*/ 169357 h 273031"/>
                  <a:gd name="connsiteX13" fmla="*/ 765005 w 1533229"/>
                  <a:gd name="connsiteY13" fmla="*/ 36705 h 273031"/>
                  <a:gd name="connsiteX14" fmla="*/ 692239 w 1533229"/>
                  <a:gd name="connsiteY14" fmla="*/ 36705 h 273031"/>
                  <a:gd name="connsiteX15" fmla="*/ 692239 w 1533229"/>
                  <a:gd name="connsiteY15" fmla="*/ 92084 h 273031"/>
                  <a:gd name="connsiteX16" fmla="*/ 652959 w 1533229"/>
                  <a:gd name="connsiteY16" fmla="*/ 92084 h 273031"/>
                  <a:gd name="connsiteX17" fmla="*/ 652959 w 1533229"/>
                  <a:gd name="connsiteY17" fmla="*/ 151327 h 273031"/>
                  <a:gd name="connsiteX18" fmla="*/ 692239 w 1533229"/>
                  <a:gd name="connsiteY18" fmla="*/ 151327 h 273031"/>
                  <a:gd name="connsiteX19" fmla="*/ 692239 w 1533229"/>
                  <a:gd name="connsiteY19" fmla="*/ 269168 h 273031"/>
                  <a:gd name="connsiteX20" fmla="*/ 838415 w 1533229"/>
                  <a:gd name="connsiteY20" fmla="*/ 269168 h 273031"/>
                  <a:gd name="connsiteX21" fmla="*/ 838415 w 1533229"/>
                  <a:gd name="connsiteY21" fmla="*/ 209926 h 273031"/>
                  <a:gd name="connsiteX22" fmla="*/ 765649 w 1533229"/>
                  <a:gd name="connsiteY22" fmla="*/ 209926 h 273031"/>
                  <a:gd name="connsiteX23" fmla="*/ 765649 w 1533229"/>
                  <a:gd name="connsiteY23" fmla="*/ 151327 h 273031"/>
                  <a:gd name="connsiteX24" fmla="*/ 838415 w 1533229"/>
                  <a:gd name="connsiteY24" fmla="*/ 151327 h 273031"/>
                  <a:gd name="connsiteX25" fmla="*/ 838415 w 1533229"/>
                  <a:gd name="connsiteY25" fmla="*/ 92084 h 273031"/>
                  <a:gd name="connsiteX26" fmla="*/ 765649 w 1533229"/>
                  <a:gd name="connsiteY26" fmla="*/ 92084 h 273031"/>
                  <a:gd name="connsiteX27" fmla="*/ 765649 w 1533229"/>
                  <a:gd name="connsiteY27" fmla="*/ 36705 h 273031"/>
                  <a:gd name="connsiteX28" fmla="*/ 632997 w 1533229"/>
                  <a:gd name="connsiteY28" fmla="*/ 192539 h 273031"/>
                  <a:gd name="connsiteX29" fmla="*/ 462352 w 1533229"/>
                  <a:gd name="connsiteY29" fmla="*/ 192539 h 273031"/>
                  <a:gd name="connsiteX30" fmla="*/ 508072 w 1533229"/>
                  <a:gd name="connsiteY30" fmla="*/ 216365 h 273031"/>
                  <a:gd name="connsiteX31" fmla="*/ 548640 w 1533229"/>
                  <a:gd name="connsiteY31" fmla="*/ 209926 h 273031"/>
                  <a:gd name="connsiteX32" fmla="*/ 627845 w 1533229"/>
                  <a:gd name="connsiteY32" fmla="*/ 209926 h 273031"/>
                  <a:gd name="connsiteX33" fmla="*/ 508072 w 1533229"/>
                  <a:gd name="connsiteY33" fmla="*/ 273032 h 273031"/>
                  <a:gd name="connsiteX34" fmla="*/ 388942 w 1533229"/>
                  <a:gd name="connsiteY34" fmla="*/ 180304 h 273031"/>
                  <a:gd name="connsiteX35" fmla="*/ 511291 w 1533229"/>
                  <a:gd name="connsiteY35" fmla="*/ 87576 h 273031"/>
                  <a:gd name="connsiteX36" fmla="*/ 632997 w 1533229"/>
                  <a:gd name="connsiteY36" fmla="*/ 192539 h 273031"/>
                  <a:gd name="connsiteX37" fmla="*/ 556367 w 1533229"/>
                  <a:gd name="connsiteY37" fmla="*/ 152615 h 273031"/>
                  <a:gd name="connsiteX38" fmla="*/ 510647 w 1533229"/>
                  <a:gd name="connsiteY38" fmla="*/ 135228 h 273031"/>
                  <a:gd name="connsiteX39" fmla="*/ 465571 w 1533229"/>
                  <a:gd name="connsiteY39" fmla="*/ 152615 h 273031"/>
                  <a:gd name="connsiteX40" fmla="*/ 556367 w 1533229"/>
                  <a:gd name="connsiteY40" fmla="*/ 152615 h 273031"/>
                  <a:gd name="connsiteX41" fmla="*/ 1041901 w 1533229"/>
                  <a:gd name="connsiteY41" fmla="*/ 186744 h 273031"/>
                  <a:gd name="connsiteX42" fmla="*/ 985878 w 1533229"/>
                  <a:gd name="connsiteY42" fmla="*/ 208638 h 273031"/>
                  <a:gd name="connsiteX43" fmla="*/ 943377 w 1533229"/>
                  <a:gd name="connsiteY43" fmla="*/ 165493 h 273031"/>
                  <a:gd name="connsiteX44" fmla="*/ 943377 w 1533229"/>
                  <a:gd name="connsiteY44" fmla="*/ 92084 h 273031"/>
                  <a:gd name="connsiteX45" fmla="*/ 870612 w 1533229"/>
                  <a:gd name="connsiteY45" fmla="*/ 92084 h 273031"/>
                  <a:gd name="connsiteX46" fmla="*/ 870612 w 1533229"/>
                  <a:gd name="connsiteY46" fmla="*/ 194471 h 273031"/>
                  <a:gd name="connsiteX47" fmla="*/ 957544 w 1533229"/>
                  <a:gd name="connsiteY47" fmla="*/ 269812 h 273031"/>
                  <a:gd name="connsiteX48" fmla="*/ 1041901 w 1533229"/>
                  <a:gd name="connsiteY48" fmla="*/ 243411 h 273031"/>
                  <a:gd name="connsiteX49" fmla="*/ 1041901 w 1533229"/>
                  <a:gd name="connsiteY49" fmla="*/ 268524 h 273031"/>
                  <a:gd name="connsiteX50" fmla="*/ 1114667 w 1533229"/>
                  <a:gd name="connsiteY50" fmla="*/ 268524 h 273031"/>
                  <a:gd name="connsiteX51" fmla="*/ 1114667 w 1533229"/>
                  <a:gd name="connsiteY51" fmla="*/ 91440 h 273031"/>
                  <a:gd name="connsiteX52" fmla="*/ 1041901 w 1533229"/>
                  <a:gd name="connsiteY52" fmla="*/ 91440 h 273031"/>
                  <a:gd name="connsiteX53" fmla="*/ 1041901 w 1533229"/>
                  <a:gd name="connsiteY53" fmla="*/ 186744 h 273031"/>
                  <a:gd name="connsiteX54" fmla="*/ 1457888 w 1533229"/>
                  <a:gd name="connsiteY54" fmla="*/ 89508 h 273031"/>
                  <a:gd name="connsiteX55" fmla="*/ 1371600 w 1533229"/>
                  <a:gd name="connsiteY55" fmla="*/ 123637 h 273031"/>
                  <a:gd name="connsiteX56" fmla="*/ 1305274 w 1533229"/>
                  <a:gd name="connsiteY56" fmla="*/ 89508 h 273031"/>
                  <a:gd name="connsiteX57" fmla="*/ 1225425 w 1533229"/>
                  <a:gd name="connsiteY57" fmla="*/ 121705 h 273031"/>
                  <a:gd name="connsiteX58" fmla="*/ 1225425 w 1533229"/>
                  <a:gd name="connsiteY58" fmla="*/ 92084 h 273031"/>
                  <a:gd name="connsiteX59" fmla="*/ 1152659 w 1533229"/>
                  <a:gd name="connsiteY59" fmla="*/ 92084 h 273031"/>
                  <a:gd name="connsiteX60" fmla="*/ 1152659 w 1533229"/>
                  <a:gd name="connsiteY60" fmla="*/ 269168 h 273031"/>
                  <a:gd name="connsiteX61" fmla="*/ 1225425 w 1533229"/>
                  <a:gd name="connsiteY61" fmla="*/ 269168 h 273031"/>
                  <a:gd name="connsiteX62" fmla="*/ 1225425 w 1533229"/>
                  <a:gd name="connsiteY62" fmla="*/ 173865 h 273031"/>
                  <a:gd name="connsiteX63" fmla="*/ 1273721 w 1533229"/>
                  <a:gd name="connsiteY63" fmla="*/ 151327 h 273031"/>
                  <a:gd name="connsiteX64" fmla="*/ 1307850 w 1533229"/>
                  <a:gd name="connsiteY64" fmla="*/ 194471 h 273031"/>
                  <a:gd name="connsiteX65" fmla="*/ 1307850 w 1533229"/>
                  <a:gd name="connsiteY65" fmla="*/ 269168 h 273031"/>
                  <a:gd name="connsiteX66" fmla="*/ 1380615 w 1533229"/>
                  <a:gd name="connsiteY66" fmla="*/ 269168 h 273031"/>
                  <a:gd name="connsiteX67" fmla="*/ 1380615 w 1533229"/>
                  <a:gd name="connsiteY67" fmla="*/ 171933 h 273031"/>
                  <a:gd name="connsiteX68" fmla="*/ 1426335 w 1533229"/>
                  <a:gd name="connsiteY68" fmla="*/ 151327 h 273031"/>
                  <a:gd name="connsiteX69" fmla="*/ 1460464 w 1533229"/>
                  <a:gd name="connsiteY69" fmla="*/ 194471 h 273031"/>
                  <a:gd name="connsiteX70" fmla="*/ 1460464 w 1533229"/>
                  <a:gd name="connsiteY70" fmla="*/ 269168 h 273031"/>
                  <a:gd name="connsiteX71" fmla="*/ 1533230 w 1533229"/>
                  <a:gd name="connsiteY71" fmla="*/ 269168 h 273031"/>
                  <a:gd name="connsiteX72" fmla="*/ 1533230 w 1533229"/>
                  <a:gd name="connsiteY72" fmla="*/ 162918 h 273031"/>
                  <a:gd name="connsiteX73" fmla="*/ 1457888 w 1533229"/>
                  <a:gd name="connsiteY73" fmla="*/ 89508 h 273031"/>
                  <a:gd name="connsiteX74" fmla="*/ 0 w 1533229"/>
                  <a:gd name="connsiteY74" fmla="*/ 92084 h 273031"/>
                  <a:gd name="connsiteX75" fmla="*/ 0 w 1533229"/>
                  <a:gd name="connsiteY75" fmla="*/ 269168 h 273031"/>
                  <a:gd name="connsiteX76" fmla="*/ 72766 w 1533229"/>
                  <a:gd name="connsiteY76" fmla="*/ 269168 h 273031"/>
                  <a:gd name="connsiteX77" fmla="*/ 72766 w 1533229"/>
                  <a:gd name="connsiteY77" fmla="*/ 92084 h 273031"/>
                  <a:gd name="connsiteX78" fmla="*/ 0 w 1533229"/>
                  <a:gd name="connsiteY78" fmla="*/ 92084 h 273031"/>
                  <a:gd name="connsiteX79" fmla="*/ 72766 w 1533229"/>
                  <a:gd name="connsiteY79" fmla="*/ 0 h 273031"/>
                  <a:gd name="connsiteX80" fmla="*/ 0 w 1533229"/>
                  <a:gd name="connsiteY80" fmla="*/ 0 h 273031"/>
                  <a:gd name="connsiteX81" fmla="*/ 0 w 1533229"/>
                  <a:gd name="connsiteY81" fmla="*/ 72766 h 273031"/>
                  <a:gd name="connsiteX82" fmla="*/ 72766 w 1533229"/>
                  <a:gd name="connsiteY82" fmla="*/ 72766 h 273031"/>
                  <a:gd name="connsiteX83" fmla="*/ 72766 w 1533229"/>
                  <a:gd name="connsiteY83" fmla="*/ 0 h 27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533229" h="273031">
                    <a:moveTo>
                      <a:pt x="358677" y="169357"/>
                    </a:moveTo>
                    <a:lnTo>
                      <a:pt x="358677" y="269168"/>
                    </a:lnTo>
                    <a:lnTo>
                      <a:pt x="285267" y="269168"/>
                    </a:lnTo>
                    <a:lnTo>
                      <a:pt x="285267" y="198978"/>
                    </a:lnTo>
                    <a:cubicBezTo>
                      <a:pt x="285267" y="167425"/>
                      <a:pt x="274964" y="154546"/>
                      <a:pt x="242123" y="154546"/>
                    </a:cubicBezTo>
                    <a:cubicBezTo>
                      <a:pt x="220229" y="154546"/>
                      <a:pt x="197691" y="164206"/>
                      <a:pt x="183524" y="177728"/>
                    </a:cubicBezTo>
                    <a:lnTo>
                      <a:pt x="183524" y="269812"/>
                    </a:lnTo>
                    <a:lnTo>
                      <a:pt x="110758" y="269812"/>
                    </a:lnTo>
                    <a:lnTo>
                      <a:pt x="110758" y="92084"/>
                    </a:lnTo>
                    <a:lnTo>
                      <a:pt x="183524" y="92084"/>
                    </a:lnTo>
                    <a:lnTo>
                      <a:pt x="183524" y="117842"/>
                    </a:lnTo>
                    <a:cubicBezTo>
                      <a:pt x="205418" y="102387"/>
                      <a:pt x="233108" y="90152"/>
                      <a:pt x="271744" y="90152"/>
                    </a:cubicBezTo>
                    <a:cubicBezTo>
                      <a:pt x="312957" y="90152"/>
                      <a:pt x="358677" y="103675"/>
                      <a:pt x="358677" y="169357"/>
                    </a:cubicBezTo>
                    <a:close/>
                    <a:moveTo>
                      <a:pt x="765005" y="36705"/>
                    </a:moveTo>
                    <a:lnTo>
                      <a:pt x="692239" y="36705"/>
                    </a:lnTo>
                    <a:lnTo>
                      <a:pt x="692239" y="92084"/>
                    </a:lnTo>
                    <a:lnTo>
                      <a:pt x="652959" y="92084"/>
                    </a:lnTo>
                    <a:lnTo>
                      <a:pt x="652959" y="151327"/>
                    </a:lnTo>
                    <a:lnTo>
                      <a:pt x="692239" y="151327"/>
                    </a:lnTo>
                    <a:lnTo>
                      <a:pt x="692239" y="269168"/>
                    </a:lnTo>
                    <a:lnTo>
                      <a:pt x="838415" y="269168"/>
                    </a:lnTo>
                    <a:lnTo>
                      <a:pt x="838415" y="209926"/>
                    </a:lnTo>
                    <a:lnTo>
                      <a:pt x="765649" y="209926"/>
                    </a:lnTo>
                    <a:lnTo>
                      <a:pt x="765649" y="151327"/>
                    </a:lnTo>
                    <a:lnTo>
                      <a:pt x="838415" y="151327"/>
                    </a:lnTo>
                    <a:lnTo>
                      <a:pt x="838415" y="92084"/>
                    </a:lnTo>
                    <a:lnTo>
                      <a:pt x="765649" y="92084"/>
                    </a:lnTo>
                    <a:lnTo>
                      <a:pt x="765649" y="36705"/>
                    </a:lnTo>
                    <a:close/>
                    <a:moveTo>
                      <a:pt x="632997" y="192539"/>
                    </a:moveTo>
                    <a:lnTo>
                      <a:pt x="462352" y="192539"/>
                    </a:lnTo>
                    <a:cubicBezTo>
                      <a:pt x="468147" y="211857"/>
                      <a:pt x="488109" y="216365"/>
                      <a:pt x="508072" y="216365"/>
                    </a:cubicBezTo>
                    <a:cubicBezTo>
                      <a:pt x="527390" y="216365"/>
                      <a:pt x="538337" y="215077"/>
                      <a:pt x="548640" y="209926"/>
                    </a:cubicBezTo>
                    <a:lnTo>
                      <a:pt x="627845" y="209926"/>
                    </a:lnTo>
                    <a:cubicBezTo>
                      <a:pt x="616254" y="252426"/>
                      <a:pt x="577617" y="273032"/>
                      <a:pt x="508072" y="273032"/>
                    </a:cubicBezTo>
                    <a:cubicBezTo>
                      <a:pt x="437882" y="273032"/>
                      <a:pt x="388942" y="246630"/>
                      <a:pt x="388942" y="180304"/>
                    </a:cubicBezTo>
                    <a:cubicBezTo>
                      <a:pt x="388942" y="113978"/>
                      <a:pt x="437882" y="87576"/>
                      <a:pt x="511291" y="87576"/>
                    </a:cubicBezTo>
                    <a:cubicBezTo>
                      <a:pt x="585345" y="87576"/>
                      <a:pt x="632997" y="113978"/>
                      <a:pt x="632997" y="192539"/>
                    </a:cubicBezTo>
                    <a:close/>
                    <a:moveTo>
                      <a:pt x="556367" y="152615"/>
                    </a:moveTo>
                    <a:cubicBezTo>
                      <a:pt x="547996" y="140380"/>
                      <a:pt x="529966" y="135228"/>
                      <a:pt x="510647" y="135228"/>
                    </a:cubicBezTo>
                    <a:cubicBezTo>
                      <a:pt x="491329" y="135228"/>
                      <a:pt x="473299" y="141024"/>
                      <a:pt x="465571" y="152615"/>
                    </a:cubicBezTo>
                    <a:lnTo>
                      <a:pt x="556367" y="152615"/>
                    </a:lnTo>
                    <a:close/>
                    <a:moveTo>
                      <a:pt x="1041901" y="186744"/>
                    </a:moveTo>
                    <a:cubicBezTo>
                      <a:pt x="1028378" y="199622"/>
                      <a:pt x="1006484" y="208638"/>
                      <a:pt x="985878" y="208638"/>
                    </a:cubicBezTo>
                    <a:cubicBezTo>
                      <a:pt x="954325" y="208638"/>
                      <a:pt x="943377" y="195759"/>
                      <a:pt x="943377" y="165493"/>
                    </a:cubicBezTo>
                    <a:lnTo>
                      <a:pt x="943377" y="92084"/>
                    </a:lnTo>
                    <a:lnTo>
                      <a:pt x="870612" y="92084"/>
                    </a:lnTo>
                    <a:lnTo>
                      <a:pt x="870612" y="194471"/>
                    </a:lnTo>
                    <a:cubicBezTo>
                      <a:pt x="870612" y="257577"/>
                      <a:pt x="918264" y="269812"/>
                      <a:pt x="957544" y="269812"/>
                    </a:cubicBezTo>
                    <a:cubicBezTo>
                      <a:pt x="994249" y="269812"/>
                      <a:pt x="1021295" y="258221"/>
                      <a:pt x="1041901" y="243411"/>
                    </a:cubicBezTo>
                    <a:lnTo>
                      <a:pt x="1041901" y="268524"/>
                    </a:lnTo>
                    <a:lnTo>
                      <a:pt x="1114667" y="268524"/>
                    </a:lnTo>
                    <a:lnTo>
                      <a:pt x="1114667" y="91440"/>
                    </a:lnTo>
                    <a:lnTo>
                      <a:pt x="1041901" y="91440"/>
                    </a:lnTo>
                    <a:lnTo>
                      <a:pt x="1041901" y="186744"/>
                    </a:lnTo>
                    <a:close/>
                    <a:moveTo>
                      <a:pt x="1457888" y="89508"/>
                    </a:moveTo>
                    <a:cubicBezTo>
                      <a:pt x="1414744" y="89508"/>
                      <a:pt x="1388987" y="103031"/>
                      <a:pt x="1371600" y="123637"/>
                    </a:cubicBezTo>
                    <a:cubicBezTo>
                      <a:pt x="1357433" y="97879"/>
                      <a:pt x="1327168" y="89508"/>
                      <a:pt x="1305274" y="89508"/>
                    </a:cubicBezTo>
                    <a:cubicBezTo>
                      <a:pt x="1262130" y="89508"/>
                      <a:pt x="1241523" y="106895"/>
                      <a:pt x="1225425" y="121705"/>
                    </a:cubicBezTo>
                    <a:lnTo>
                      <a:pt x="1225425" y="92084"/>
                    </a:lnTo>
                    <a:lnTo>
                      <a:pt x="1152659" y="92084"/>
                    </a:lnTo>
                    <a:lnTo>
                      <a:pt x="1152659" y="269168"/>
                    </a:lnTo>
                    <a:lnTo>
                      <a:pt x="1225425" y="269168"/>
                    </a:lnTo>
                    <a:lnTo>
                      <a:pt x="1225425" y="173865"/>
                    </a:lnTo>
                    <a:cubicBezTo>
                      <a:pt x="1240236" y="159054"/>
                      <a:pt x="1255690" y="151327"/>
                      <a:pt x="1273721" y="151327"/>
                    </a:cubicBezTo>
                    <a:cubicBezTo>
                      <a:pt x="1299478" y="151327"/>
                      <a:pt x="1307850" y="164206"/>
                      <a:pt x="1307850" y="194471"/>
                    </a:cubicBezTo>
                    <a:lnTo>
                      <a:pt x="1307850" y="269168"/>
                    </a:lnTo>
                    <a:lnTo>
                      <a:pt x="1380615" y="269168"/>
                    </a:lnTo>
                    <a:lnTo>
                      <a:pt x="1380615" y="171933"/>
                    </a:lnTo>
                    <a:cubicBezTo>
                      <a:pt x="1395426" y="157122"/>
                      <a:pt x="1408305" y="151327"/>
                      <a:pt x="1426335" y="151327"/>
                    </a:cubicBezTo>
                    <a:cubicBezTo>
                      <a:pt x="1452093" y="151327"/>
                      <a:pt x="1460464" y="164206"/>
                      <a:pt x="1460464" y="194471"/>
                    </a:cubicBezTo>
                    <a:lnTo>
                      <a:pt x="1460464" y="269168"/>
                    </a:lnTo>
                    <a:lnTo>
                      <a:pt x="1533230" y="269168"/>
                    </a:lnTo>
                    <a:lnTo>
                      <a:pt x="1533230" y="162918"/>
                    </a:lnTo>
                    <a:cubicBezTo>
                      <a:pt x="1533230" y="101743"/>
                      <a:pt x="1488798" y="89508"/>
                      <a:pt x="1457888" y="89508"/>
                    </a:cubicBezTo>
                    <a:close/>
                    <a:moveTo>
                      <a:pt x="0" y="92084"/>
                    </a:moveTo>
                    <a:lnTo>
                      <a:pt x="0" y="269168"/>
                    </a:lnTo>
                    <a:lnTo>
                      <a:pt x="72766" y="269168"/>
                    </a:lnTo>
                    <a:lnTo>
                      <a:pt x="72766" y="92084"/>
                    </a:lnTo>
                    <a:lnTo>
                      <a:pt x="0" y="92084"/>
                    </a:lnTo>
                    <a:close/>
                    <a:moveTo>
                      <a:pt x="72766" y="0"/>
                    </a:moveTo>
                    <a:lnTo>
                      <a:pt x="0" y="0"/>
                    </a:lnTo>
                    <a:lnTo>
                      <a:pt x="0" y="72766"/>
                    </a:lnTo>
                    <a:lnTo>
                      <a:pt x="72766" y="72766"/>
                    </a:lnTo>
                    <a:lnTo>
                      <a:pt x="72766" y="0"/>
                    </a:lnTo>
                    <a:close/>
                  </a:path>
                </a:pathLst>
              </a:custGeom>
              <a:solidFill>
                <a:schemeClr val="bg1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87CE0B4-A958-4D06-9420-19E32A7A994A}"/>
                  </a:ext>
                </a:extLst>
              </p:cNvPr>
              <p:cNvSpPr/>
              <p:nvPr/>
            </p:nvSpPr>
            <p:spPr>
              <a:xfrm>
                <a:off x="8363039" y="5384227"/>
                <a:ext cx="218296" cy="218940"/>
              </a:xfrm>
              <a:custGeom>
                <a:avLst/>
                <a:gdLst>
                  <a:gd name="connsiteX0" fmla="*/ 72766 w 218296"/>
                  <a:gd name="connsiteY0" fmla="*/ 0 h 218940"/>
                  <a:gd name="connsiteX1" fmla="*/ 72766 w 218296"/>
                  <a:gd name="connsiteY1" fmla="*/ 72766 h 218940"/>
                  <a:gd name="connsiteX2" fmla="*/ 145531 w 218296"/>
                  <a:gd name="connsiteY2" fmla="*/ 72766 h 218940"/>
                  <a:gd name="connsiteX3" fmla="*/ 145531 w 218296"/>
                  <a:gd name="connsiteY3" fmla="*/ 145531 h 218940"/>
                  <a:gd name="connsiteX4" fmla="*/ 218297 w 218296"/>
                  <a:gd name="connsiteY4" fmla="*/ 145531 h 218940"/>
                  <a:gd name="connsiteX5" fmla="*/ 218297 w 218296"/>
                  <a:gd name="connsiteY5" fmla="*/ 0 h 218940"/>
                  <a:gd name="connsiteX6" fmla="*/ 72766 w 218296"/>
                  <a:gd name="connsiteY6" fmla="*/ 0 h 218940"/>
                  <a:gd name="connsiteX7" fmla="*/ 72766 w 218296"/>
                  <a:gd name="connsiteY7" fmla="*/ 146175 h 218940"/>
                  <a:gd name="connsiteX8" fmla="*/ 0 w 218296"/>
                  <a:gd name="connsiteY8" fmla="*/ 146175 h 218940"/>
                  <a:gd name="connsiteX9" fmla="*/ 0 w 218296"/>
                  <a:gd name="connsiteY9" fmla="*/ 218941 h 218940"/>
                  <a:gd name="connsiteX10" fmla="*/ 72766 w 218296"/>
                  <a:gd name="connsiteY10" fmla="*/ 218941 h 218940"/>
                  <a:gd name="connsiteX11" fmla="*/ 72766 w 218296"/>
                  <a:gd name="connsiteY11" fmla="*/ 146175 h 218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296" h="218940">
                    <a:moveTo>
                      <a:pt x="72766" y="0"/>
                    </a:moveTo>
                    <a:lnTo>
                      <a:pt x="72766" y="72766"/>
                    </a:lnTo>
                    <a:lnTo>
                      <a:pt x="145531" y="72766"/>
                    </a:lnTo>
                    <a:lnTo>
                      <a:pt x="145531" y="145531"/>
                    </a:lnTo>
                    <a:lnTo>
                      <a:pt x="218297" y="145531"/>
                    </a:lnTo>
                    <a:lnTo>
                      <a:pt x="218297" y="0"/>
                    </a:lnTo>
                    <a:lnTo>
                      <a:pt x="72766" y="0"/>
                    </a:lnTo>
                    <a:close/>
                    <a:moveTo>
                      <a:pt x="72766" y="146175"/>
                    </a:moveTo>
                    <a:lnTo>
                      <a:pt x="0" y="146175"/>
                    </a:lnTo>
                    <a:lnTo>
                      <a:pt x="0" y="218941"/>
                    </a:lnTo>
                    <a:lnTo>
                      <a:pt x="72766" y="218941"/>
                    </a:lnTo>
                    <a:lnTo>
                      <a:pt x="72766" y="146175"/>
                    </a:lnTo>
                    <a:close/>
                  </a:path>
                </a:pathLst>
              </a:custGeom>
              <a:solidFill>
                <a:srgbClr val="00AA9B"/>
              </a:solidFill>
              <a:ln w="64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731"/>
              </a:p>
            </p:txBody>
          </p:sp>
        </p:grpSp>
      </p:grp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1F2F5812-A87B-4FF0-8AF0-430D0522C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18680" y="16144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565143D5-803B-4BBC-9EEC-05BD666ADE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31606" y="30861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15EB7A04-D68C-41D0-B905-5073B5F80E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93074" y="33289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E0B973B9-F199-4B5E-803F-4410743BD7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31606" y="1371600"/>
            <a:ext cx="9906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731"/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A2767ABD-17B9-4375-BB06-FA22C3DCE9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3074" y="1614406"/>
            <a:ext cx="2437804" cy="767105"/>
          </a:xfrm>
        </p:spPr>
        <p:txBody>
          <a:bodyPr wrap="square" tIns="75600">
            <a:spAutoFit/>
          </a:bodyPr>
          <a:lstStyle>
            <a:lvl1pPr marL="8775">
              <a:defRPr/>
            </a:lvl1pPr>
            <a:lvl2pPr marL="8775">
              <a:spcBef>
                <a:spcPts val="183"/>
              </a:spcBef>
              <a:defRPr sz="914">
                <a:solidFill>
                  <a:schemeClr val="accent2"/>
                </a:solidFill>
                <a:latin typeface="+mj-lt"/>
              </a:defRPr>
            </a:lvl2pPr>
            <a:lvl3pPr>
              <a:spcBef>
                <a:spcPts val="280"/>
              </a:spcBef>
              <a:defRPr sz="792">
                <a:solidFill>
                  <a:schemeClr val="accent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email@inetum.com</a:t>
            </a:r>
          </a:p>
          <a:p>
            <a:pPr lvl="2"/>
            <a:r>
              <a:rPr lang="en-US" dirty="0"/>
              <a:t>Social network</a:t>
            </a:r>
          </a:p>
        </p:txBody>
      </p:sp>
    </p:spTree>
    <p:extLst>
      <p:ext uri="{BB962C8B-B14F-4D97-AF65-F5344CB8AC3E}">
        <p14:creationId xmlns:p14="http://schemas.microsoft.com/office/powerpoint/2010/main" val="141158315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3" y="3713307"/>
            <a:ext cx="2228850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5" name="object 13">
            <a:extLst>
              <a:ext uri="{FF2B5EF4-FFF2-40B4-BE49-F238E27FC236}">
                <a16:creationId xmlns:a16="http://schemas.microsoft.com/office/drawing/2014/main" id="{2F0B4D82-3112-41F2-AD2B-0EF2CD0013D4}"/>
              </a:ext>
            </a:extLst>
          </p:cNvPr>
          <p:cNvSpPr txBox="1"/>
          <p:nvPr userDrawn="1"/>
        </p:nvSpPr>
        <p:spPr>
          <a:xfrm>
            <a:off x="3645098" y="3895726"/>
            <a:ext cx="1245989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8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rgbClr val="232D4B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7D4A96E6-C3EB-45C1-B3BA-4E240EF4D554}"/>
              </a:ext>
            </a:extLst>
          </p:cNvPr>
          <p:cNvSpPr/>
          <p:nvPr userDrawn="1"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</p:spTree>
    <p:extLst>
      <p:ext uri="{BB962C8B-B14F-4D97-AF65-F5344CB8AC3E}">
        <p14:creationId xmlns:p14="http://schemas.microsoft.com/office/powerpoint/2010/main" val="409469517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End 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7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" name="object 29">
            <a:extLst>
              <a:ext uri="{FF2B5EF4-FFF2-40B4-BE49-F238E27FC236}">
                <a16:creationId xmlns:a16="http://schemas.microsoft.com/office/drawing/2014/main" id="{06CB742D-9F4D-42D3-B49A-F528B3B02573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PAI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UM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WITZER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NG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AND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MAN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OROC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ENE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O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AZ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CO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OF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ER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OMINICAN REPUBLIC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8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AE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FBBE171D-EA4E-452C-8EBE-60BD260840FF}"/>
              </a:ext>
            </a:extLst>
          </p:cNvPr>
          <p:cNvSpPr/>
          <p:nvPr userDrawn="1"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609C26D4-87EE-42AD-8338-D5EE327E9EA9}"/>
              </a:ext>
            </a:extLst>
          </p:cNvPr>
          <p:cNvSpPr txBox="1"/>
          <p:nvPr userDrawn="1"/>
        </p:nvSpPr>
        <p:spPr>
          <a:xfrm>
            <a:off x="3645098" y="3895726"/>
            <a:ext cx="1245989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373488050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End F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C564269-2D87-478B-AE16-29E8D03E9CC3}"/>
              </a:ext>
            </a:extLst>
          </p:cNvPr>
          <p:cNvSpPr/>
          <p:nvPr userDrawn="1"/>
        </p:nvSpPr>
        <p:spPr>
          <a:xfrm>
            <a:off x="556838" y="5552612"/>
            <a:ext cx="216919" cy="266977"/>
          </a:xfrm>
          <a:custGeom>
            <a:avLst/>
            <a:gdLst>
              <a:gd name="connsiteX0" fmla="*/ 194681 w 355969"/>
              <a:gd name="connsiteY0" fmla="*/ 72480 h 355969"/>
              <a:gd name="connsiteX1" fmla="*/ 228819 w 355969"/>
              <a:gd name="connsiteY1" fmla="*/ 72727 h 355969"/>
              <a:gd name="connsiteX2" fmla="*/ 228819 w 355969"/>
              <a:gd name="connsiteY2" fmla="*/ 110823 h 355969"/>
              <a:gd name="connsiteX3" fmla="*/ 204082 w 355969"/>
              <a:gd name="connsiteY3" fmla="*/ 110823 h 355969"/>
              <a:gd name="connsiteX4" fmla="*/ 194434 w 355969"/>
              <a:gd name="connsiteY4" fmla="*/ 121460 h 355969"/>
              <a:gd name="connsiteX5" fmla="*/ 194434 w 355969"/>
              <a:gd name="connsiteY5" fmla="*/ 144465 h 355969"/>
              <a:gd name="connsiteX6" fmla="*/ 229313 w 355969"/>
              <a:gd name="connsiteY6" fmla="*/ 144465 h 355969"/>
              <a:gd name="connsiteX7" fmla="*/ 225356 w 355969"/>
              <a:gd name="connsiteY7" fmla="*/ 183550 h 355969"/>
              <a:gd name="connsiteX8" fmla="*/ 194434 w 355969"/>
              <a:gd name="connsiteY8" fmla="*/ 183550 h 355969"/>
              <a:gd name="connsiteX9" fmla="*/ 194434 w 355969"/>
              <a:gd name="connsiteY9" fmla="*/ 283241 h 355969"/>
              <a:gd name="connsiteX10" fmla="*/ 148423 w 355969"/>
              <a:gd name="connsiteY10" fmla="*/ 283241 h 355969"/>
              <a:gd name="connsiteX11" fmla="*/ 148423 w 355969"/>
              <a:gd name="connsiteY11" fmla="*/ 183303 h 355969"/>
              <a:gd name="connsiteX12" fmla="*/ 126654 w 355969"/>
              <a:gd name="connsiteY12" fmla="*/ 183303 h 355969"/>
              <a:gd name="connsiteX13" fmla="*/ 126654 w 355969"/>
              <a:gd name="connsiteY13" fmla="*/ 144218 h 355969"/>
              <a:gd name="connsiteX14" fmla="*/ 148423 w 355969"/>
              <a:gd name="connsiteY14" fmla="*/ 144218 h 355969"/>
              <a:gd name="connsiteX15" fmla="*/ 148423 w 355969"/>
              <a:gd name="connsiteY15" fmla="*/ 118986 h 355969"/>
              <a:gd name="connsiteX16" fmla="*/ 194681 w 355969"/>
              <a:gd name="connsiteY16" fmla="*/ 72480 h 355969"/>
              <a:gd name="connsiteX17" fmla="*/ 12369 w 355969"/>
              <a:gd name="connsiteY17" fmla="*/ 12369 h 355969"/>
              <a:gd name="connsiteX18" fmla="*/ 12369 w 355969"/>
              <a:gd name="connsiteY18" fmla="*/ 343600 h 355969"/>
              <a:gd name="connsiteX19" fmla="*/ 343600 w 355969"/>
              <a:gd name="connsiteY19" fmla="*/ 343600 h 355969"/>
              <a:gd name="connsiteX20" fmla="*/ 343600 w 355969"/>
              <a:gd name="connsiteY20" fmla="*/ 12369 h 355969"/>
              <a:gd name="connsiteX21" fmla="*/ 0 w 355969"/>
              <a:gd name="connsiteY21" fmla="*/ 0 h 355969"/>
              <a:gd name="connsiteX22" fmla="*/ 355969 w 355969"/>
              <a:gd name="connsiteY22" fmla="*/ 0 h 355969"/>
              <a:gd name="connsiteX23" fmla="*/ 355969 w 355969"/>
              <a:gd name="connsiteY23" fmla="*/ 355969 h 355969"/>
              <a:gd name="connsiteX24" fmla="*/ 0 w 355969"/>
              <a:gd name="connsiteY24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55969" h="355969">
                <a:moveTo>
                  <a:pt x="194681" y="72480"/>
                </a:moveTo>
                <a:lnTo>
                  <a:pt x="228819" y="72727"/>
                </a:lnTo>
                <a:lnTo>
                  <a:pt x="228819" y="110823"/>
                </a:lnTo>
                <a:lnTo>
                  <a:pt x="204082" y="110823"/>
                </a:lnTo>
                <a:cubicBezTo>
                  <a:pt x="200124" y="110823"/>
                  <a:pt x="194434" y="112802"/>
                  <a:pt x="194434" y="121460"/>
                </a:cubicBezTo>
                <a:lnTo>
                  <a:pt x="194434" y="144465"/>
                </a:lnTo>
                <a:lnTo>
                  <a:pt x="229313" y="144465"/>
                </a:lnTo>
                <a:lnTo>
                  <a:pt x="225356" y="183550"/>
                </a:lnTo>
                <a:lnTo>
                  <a:pt x="194434" y="183550"/>
                </a:lnTo>
                <a:lnTo>
                  <a:pt x="194434" y="283241"/>
                </a:lnTo>
                <a:lnTo>
                  <a:pt x="148423" y="283241"/>
                </a:lnTo>
                <a:lnTo>
                  <a:pt x="148423" y="183303"/>
                </a:lnTo>
                <a:lnTo>
                  <a:pt x="126654" y="183303"/>
                </a:lnTo>
                <a:lnTo>
                  <a:pt x="126654" y="144218"/>
                </a:lnTo>
                <a:lnTo>
                  <a:pt x="148423" y="144218"/>
                </a:lnTo>
                <a:lnTo>
                  <a:pt x="148423" y="118986"/>
                </a:lnTo>
                <a:cubicBezTo>
                  <a:pt x="148423" y="100928"/>
                  <a:pt x="157081" y="72727"/>
                  <a:pt x="194681" y="724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476E0276-2192-4BC6-8F70-F1EE82A36BF6}"/>
              </a:ext>
            </a:extLst>
          </p:cNvPr>
          <p:cNvSpPr/>
          <p:nvPr userDrawn="1"/>
        </p:nvSpPr>
        <p:spPr>
          <a:xfrm>
            <a:off x="884326" y="5552612"/>
            <a:ext cx="216919" cy="266977"/>
          </a:xfrm>
          <a:custGeom>
            <a:avLst/>
            <a:gdLst>
              <a:gd name="connsiteX0" fmla="*/ 216945 w 355969"/>
              <a:gd name="connsiteY0" fmla="*/ 95980 h 355969"/>
              <a:gd name="connsiteX1" fmla="*/ 247372 w 355969"/>
              <a:gd name="connsiteY1" fmla="*/ 109091 h 355969"/>
              <a:gd name="connsiteX2" fmla="*/ 273841 w 355969"/>
              <a:gd name="connsiteY2" fmla="*/ 98948 h 355969"/>
              <a:gd name="connsiteX3" fmla="*/ 255536 w 355969"/>
              <a:gd name="connsiteY3" fmla="*/ 121954 h 355969"/>
              <a:gd name="connsiteX4" fmla="*/ 279531 w 355969"/>
              <a:gd name="connsiteY4" fmla="*/ 115275 h 355969"/>
              <a:gd name="connsiteX5" fmla="*/ 258751 w 355969"/>
              <a:gd name="connsiteY5" fmla="*/ 136796 h 355969"/>
              <a:gd name="connsiteX6" fmla="*/ 258751 w 355969"/>
              <a:gd name="connsiteY6" fmla="*/ 142239 h 355969"/>
              <a:gd name="connsiteX7" fmla="*/ 140260 w 355969"/>
              <a:gd name="connsiteY7" fmla="*/ 260730 h 355969"/>
              <a:gd name="connsiteX8" fmla="*/ 76438 w 355969"/>
              <a:gd name="connsiteY8" fmla="*/ 241930 h 355969"/>
              <a:gd name="connsiteX9" fmla="*/ 86086 w 355969"/>
              <a:gd name="connsiteY9" fmla="*/ 242672 h 355969"/>
              <a:gd name="connsiteX10" fmla="*/ 137786 w 355969"/>
              <a:gd name="connsiteY10" fmla="*/ 224861 h 355969"/>
              <a:gd name="connsiteX11" fmla="*/ 98949 w 355969"/>
              <a:gd name="connsiteY11" fmla="*/ 195918 h 355969"/>
              <a:gd name="connsiteX12" fmla="*/ 106865 w 355969"/>
              <a:gd name="connsiteY12" fmla="*/ 196661 h 355969"/>
              <a:gd name="connsiteX13" fmla="*/ 117749 w 355969"/>
              <a:gd name="connsiteY13" fmla="*/ 195176 h 355969"/>
              <a:gd name="connsiteX14" fmla="*/ 84354 w 355969"/>
              <a:gd name="connsiteY14" fmla="*/ 154360 h 355969"/>
              <a:gd name="connsiteX15" fmla="*/ 84354 w 355969"/>
              <a:gd name="connsiteY15" fmla="*/ 153865 h 355969"/>
              <a:gd name="connsiteX16" fmla="*/ 103154 w 355969"/>
              <a:gd name="connsiteY16" fmla="*/ 159060 h 355969"/>
              <a:gd name="connsiteX17" fmla="*/ 84601 w 355969"/>
              <a:gd name="connsiteY17" fmla="*/ 124428 h 355969"/>
              <a:gd name="connsiteX18" fmla="*/ 90291 w 355969"/>
              <a:gd name="connsiteY18" fmla="*/ 103401 h 355969"/>
              <a:gd name="connsiteX19" fmla="*/ 176129 w 355969"/>
              <a:gd name="connsiteY19" fmla="*/ 146939 h 355969"/>
              <a:gd name="connsiteX20" fmla="*/ 175140 w 355969"/>
              <a:gd name="connsiteY20" fmla="*/ 137539 h 355969"/>
              <a:gd name="connsiteX21" fmla="*/ 216945 w 355969"/>
              <a:gd name="connsiteY21" fmla="*/ 95980 h 355969"/>
              <a:gd name="connsiteX22" fmla="*/ 12369 w 355969"/>
              <a:gd name="connsiteY22" fmla="*/ 12369 h 355969"/>
              <a:gd name="connsiteX23" fmla="*/ 12369 w 355969"/>
              <a:gd name="connsiteY23" fmla="*/ 343600 h 355969"/>
              <a:gd name="connsiteX24" fmla="*/ 343600 w 355969"/>
              <a:gd name="connsiteY24" fmla="*/ 343600 h 355969"/>
              <a:gd name="connsiteX25" fmla="*/ 343600 w 355969"/>
              <a:gd name="connsiteY25" fmla="*/ 12369 h 355969"/>
              <a:gd name="connsiteX26" fmla="*/ 0 w 355969"/>
              <a:gd name="connsiteY26" fmla="*/ 0 h 355969"/>
              <a:gd name="connsiteX27" fmla="*/ 355969 w 355969"/>
              <a:gd name="connsiteY27" fmla="*/ 0 h 355969"/>
              <a:gd name="connsiteX28" fmla="*/ 355969 w 355969"/>
              <a:gd name="connsiteY28" fmla="*/ 355969 h 355969"/>
              <a:gd name="connsiteX29" fmla="*/ 0 w 355969"/>
              <a:gd name="connsiteY2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55969" h="355969">
                <a:moveTo>
                  <a:pt x="216945" y="95980"/>
                </a:moveTo>
                <a:cubicBezTo>
                  <a:pt x="228819" y="95980"/>
                  <a:pt x="239704" y="100927"/>
                  <a:pt x="247372" y="109091"/>
                </a:cubicBezTo>
                <a:cubicBezTo>
                  <a:pt x="256772" y="107112"/>
                  <a:pt x="265678" y="103649"/>
                  <a:pt x="273841" y="98948"/>
                </a:cubicBezTo>
                <a:cubicBezTo>
                  <a:pt x="270625" y="108596"/>
                  <a:pt x="264194" y="116759"/>
                  <a:pt x="255536" y="121954"/>
                </a:cubicBezTo>
                <a:cubicBezTo>
                  <a:pt x="263946" y="120717"/>
                  <a:pt x="272109" y="118491"/>
                  <a:pt x="279531" y="115275"/>
                </a:cubicBezTo>
                <a:cubicBezTo>
                  <a:pt x="273841" y="123686"/>
                  <a:pt x="266915" y="130859"/>
                  <a:pt x="258751" y="136796"/>
                </a:cubicBezTo>
                <a:cubicBezTo>
                  <a:pt x="258751" y="138528"/>
                  <a:pt x="258751" y="140507"/>
                  <a:pt x="258751" y="142239"/>
                </a:cubicBezTo>
                <a:cubicBezTo>
                  <a:pt x="258751" y="197155"/>
                  <a:pt x="216945" y="260730"/>
                  <a:pt x="140260" y="260730"/>
                </a:cubicBezTo>
                <a:cubicBezTo>
                  <a:pt x="116760" y="260730"/>
                  <a:pt x="94991" y="253803"/>
                  <a:pt x="76438" y="241930"/>
                </a:cubicBezTo>
                <a:cubicBezTo>
                  <a:pt x="79654" y="242177"/>
                  <a:pt x="82870" y="242424"/>
                  <a:pt x="86086" y="242672"/>
                </a:cubicBezTo>
                <a:cubicBezTo>
                  <a:pt x="105628" y="242672"/>
                  <a:pt x="123439" y="235993"/>
                  <a:pt x="137786" y="224861"/>
                </a:cubicBezTo>
                <a:cubicBezTo>
                  <a:pt x="119728" y="224614"/>
                  <a:pt x="104144" y="212492"/>
                  <a:pt x="98949" y="195918"/>
                </a:cubicBezTo>
                <a:cubicBezTo>
                  <a:pt x="101670" y="196413"/>
                  <a:pt x="104144" y="196661"/>
                  <a:pt x="106865" y="196661"/>
                </a:cubicBezTo>
                <a:cubicBezTo>
                  <a:pt x="110575" y="196661"/>
                  <a:pt x="114286" y="196166"/>
                  <a:pt x="117749" y="195176"/>
                </a:cubicBezTo>
                <a:cubicBezTo>
                  <a:pt x="98702" y="191466"/>
                  <a:pt x="84354" y="174644"/>
                  <a:pt x="84354" y="154360"/>
                </a:cubicBezTo>
                <a:cubicBezTo>
                  <a:pt x="84354" y="154112"/>
                  <a:pt x="84354" y="154112"/>
                  <a:pt x="84354" y="153865"/>
                </a:cubicBezTo>
                <a:cubicBezTo>
                  <a:pt x="89796" y="157081"/>
                  <a:pt x="96228" y="158813"/>
                  <a:pt x="103154" y="159060"/>
                </a:cubicBezTo>
                <a:cubicBezTo>
                  <a:pt x="92022" y="151639"/>
                  <a:pt x="84601" y="138775"/>
                  <a:pt x="84601" y="124428"/>
                </a:cubicBezTo>
                <a:cubicBezTo>
                  <a:pt x="84601" y="116759"/>
                  <a:pt x="86828" y="109585"/>
                  <a:pt x="90291" y="103401"/>
                </a:cubicBezTo>
                <a:cubicBezTo>
                  <a:pt x="110823" y="128633"/>
                  <a:pt x="141497" y="145207"/>
                  <a:pt x="176129" y="146939"/>
                </a:cubicBezTo>
                <a:cubicBezTo>
                  <a:pt x="175634" y="143970"/>
                  <a:pt x="175140" y="140754"/>
                  <a:pt x="175140" y="137539"/>
                </a:cubicBezTo>
                <a:cubicBezTo>
                  <a:pt x="175140" y="114533"/>
                  <a:pt x="193940" y="95980"/>
                  <a:pt x="216945" y="95980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731"/>
          </a:p>
        </p:txBody>
      </p:sp>
      <p:pic>
        <p:nvPicPr>
          <p:cNvPr id="2" name="Graphique 30">
            <a:extLst>
              <a:ext uri="{FF2B5EF4-FFF2-40B4-BE49-F238E27FC236}">
                <a16:creationId xmlns:a16="http://schemas.microsoft.com/office/drawing/2014/main" id="{C83DFE0C-84EB-4342-A444-67F30DED4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14" y="3713307"/>
            <a:ext cx="2228848" cy="647163"/>
          </a:xfrm>
          <a:prstGeom prst="rect">
            <a:avLst/>
          </a:prstGeom>
        </p:spPr>
      </p:pic>
      <p:grpSp>
        <p:nvGrpSpPr>
          <p:cNvPr id="46" name="object 2">
            <a:extLst>
              <a:ext uri="{FF2B5EF4-FFF2-40B4-BE49-F238E27FC236}">
                <a16:creationId xmlns:a16="http://schemas.microsoft.com/office/drawing/2014/main" id="{BB9F7213-EC40-4749-A1E4-E32C4E765A91}"/>
              </a:ext>
            </a:extLst>
          </p:cNvPr>
          <p:cNvGrpSpPr/>
          <p:nvPr userDrawn="1"/>
        </p:nvGrpSpPr>
        <p:grpSpPr>
          <a:xfrm>
            <a:off x="7119937" y="4800600"/>
            <a:ext cx="2786063" cy="2057400"/>
            <a:chOff x="11684000" y="6400800"/>
            <a:chExt cx="4572000" cy="2743200"/>
          </a:xfrm>
        </p:grpSpPr>
        <p:sp>
          <p:nvSpPr>
            <p:cNvPr id="47" name="object 3">
              <a:extLst>
                <a:ext uri="{FF2B5EF4-FFF2-40B4-BE49-F238E27FC236}">
                  <a16:creationId xmlns:a16="http://schemas.microsoft.com/office/drawing/2014/main" id="{A3DA601A-C499-463F-B966-C0E55DB30FFE}"/>
                </a:ext>
              </a:extLst>
            </p:cNvPr>
            <p:cNvSpPr/>
            <p:nvPr/>
          </p:nvSpPr>
          <p:spPr>
            <a:xfrm>
              <a:off x="15341600" y="822960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EF4641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  <p:sp>
          <p:nvSpPr>
            <p:cNvPr id="50" name="object 4">
              <a:extLst>
                <a:ext uri="{FF2B5EF4-FFF2-40B4-BE49-F238E27FC236}">
                  <a16:creationId xmlns:a16="http://schemas.microsoft.com/office/drawing/2014/main" id="{57EA7595-5FA8-47B7-A684-859CB6B726B8}"/>
                </a:ext>
              </a:extLst>
            </p:cNvPr>
            <p:cNvSpPr/>
            <p:nvPr/>
          </p:nvSpPr>
          <p:spPr>
            <a:xfrm>
              <a:off x="11684000" y="6400799"/>
              <a:ext cx="4572000" cy="2743200"/>
            </a:xfrm>
            <a:custGeom>
              <a:avLst/>
              <a:gdLst/>
              <a:ahLst/>
              <a:cxnLst/>
              <a:rect l="l" t="t" r="r" b="b"/>
              <a:pathLst>
                <a:path w="4572000" h="2743200">
                  <a:moveTo>
                    <a:pt x="914400" y="0"/>
                  </a:moveTo>
                  <a:lnTo>
                    <a:pt x="0" y="0"/>
                  </a:lnTo>
                  <a:lnTo>
                    <a:pt x="0" y="914400"/>
                  </a:lnTo>
                  <a:lnTo>
                    <a:pt x="914400" y="914400"/>
                  </a:lnTo>
                  <a:lnTo>
                    <a:pt x="914400" y="0"/>
                  </a:lnTo>
                  <a:close/>
                </a:path>
                <a:path w="4572000" h="2743200">
                  <a:moveTo>
                    <a:pt x="1813928" y="1828800"/>
                  </a:moveTo>
                  <a:lnTo>
                    <a:pt x="899528" y="1828800"/>
                  </a:lnTo>
                  <a:lnTo>
                    <a:pt x="899528" y="2743200"/>
                  </a:lnTo>
                  <a:lnTo>
                    <a:pt x="1813928" y="2743200"/>
                  </a:lnTo>
                  <a:lnTo>
                    <a:pt x="1813928" y="1828800"/>
                  </a:lnTo>
                  <a:close/>
                </a:path>
                <a:path w="4572000" h="2743200">
                  <a:moveTo>
                    <a:pt x="2742171" y="914400"/>
                  </a:moveTo>
                  <a:lnTo>
                    <a:pt x="1827771" y="914400"/>
                  </a:lnTo>
                  <a:lnTo>
                    <a:pt x="1827771" y="1828800"/>
                  </a:lnTo>
                  <a:lnTo>
                    <a:pt x="2742171" y="1828800"/>
                  </a:lnTo>
                  <a:lnTo>
                    <a:pt x="2742171" y="914400"/>
                  </a:lnTo>
                  <a:close/>
                </a:path>
                <a:path w="4572000" h="2743200">
                  <a:moveTo>
                    <a:pt x="3657600" y="0"/>
                  </a:moveTo>
                  <a:lnTo>
                    <a:pt x="2743200" y="0"/>
                  </a:lnTo>
                  <a:lnTo>
                    <a:pt x="2743200" y="914400"/>
                  </a:lnTo>
                  <a:lnTo>
                    <a:pt x="3657600" y="914400"/>
                  </a:lnTo>
                  <a:lnTo>
                    <a:pt x="3657600" y="0"/>
                  </a:lnTo>
                  <a:close/>
                </a:path>
                <a:path w="4572000" h="2743200">
                  <a:moveTo>
                    <a:pt x="4572000" y="914400"/>
                  </a:moveTo>
                  <a:lnTo>
                    <a:pt x="3657600" y="914400"/>
                  </a:lnTo>
                  <a:lnTo>
                    <a:pt x="3657600" y="1828800"/>
                  </a:lnTo>
                  <a:lnTo>
                    <a:pt x="4572000" y="1828800"/>
                  </a:lnTo>
                  <a:lnTo>
                    <a:pt x="4572000" y="914400"/>
                  </a:lnTo>
                  <a:close/>
                </a:path>
              </a:pathLst>
            </a:custGeom>
            <a:solidFill>
              <a:srgbClr val="005473"/>
            </a:solidFill>
          </p:spPr>
          <p:txBody>
            <a:bodyPr wrap="square" lIns="0" tIns="0" rIns="0" bIns="0" rtlCol="0"/>
            <a:lstStyle/>
            <a:p>
              <a:endParaRPr sz="731"/>
            </a:p>
          </p:txBody>
        </p:sp>
      </p:grpSp>
      <p:sp>
        <p:nvSpPr>
          <p:cNvPr id="51" name="object 5">
            <a:extLst>
              <a:ext uri="{FF2B5EF4-FFF2-40B4-BE49-F238E27FC236}">
                <a16:creationId xmlns:a16="http://schemas.microsoft.com/office/drawing/2014/main" id="{834E675D-8600-4DE1-99EE-C11F03127E1D}"/>
              </a:ext>
            </a:extLst>
          </p:cNvPr>
          <p:cNvSpPr/>
          <p:nvPr userDrawn="1"/>
        </p:nvSpPr>
        <p:spPr>
          <a:xfrm>
            <a:off x="6005590" y="54864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0FD0DC21-D1DC-424F-A634-BAAECE75093E}"/>
              </a:ext>
            </a:extLst>
          </p:cNvPr>
          <p:cNvSpPr/>
          <p:nvPr userDrawn="1"/>
        </p:nvSpPr>
        <p:spPr>
          <a:xfrm>
            <a:off x="8234363" y="0"/>
            <a:ext cx="1114425" cy="2057400"/>
          </a:xfrm>
          <a:custGeom>
            <a:avLst/>
            <a:gdLst/>
            <a:ahLst/>
            <a:cxnLst/>
            <a:rect l="l" t="t" r="r" b="b"/>
            <a:pathLst>
              <a:path w="1828800" h="2743200">
                <a:moveTo>
                  <a:pt x="914400" y="1828800"/>
                </a:moveTo>
                <a:lnTo>
                  <a:pt x="0" y="1828800"/>
                </a:lnTo>
                <a:lnTo>
                  <a:pt x="0" y="2743200"/>
                </a:lnTo>
                <a:lnTo>
                  <a:pt x="914400" y="2743200"/>
                </a:lnTo>
                <a:lnTo>
                  <a:pt x="914400" y="1828800"/>
                </a:lnTo>
                <a:close/>
              </a:path>
              <a:path w="1828800" h="27432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914400" y="1828800"/>
                </a:lnTo>
                <a:lnTo>
                  <a:pt x="1828800" y="18288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8B413841-B2AA-4355-A7C7-CEFEBD01FC8E}"/>
              </a:ext>
            </a:extLst>
          </p:cNvPr>
          <p:cNvSpPr/>
          <p:nvPr userDrawn="1"/>
        </p:nvSpPr>
        <p:spPr>
          <a:xfrm>
            <a:off x="5448300" y="1371599"/>
            <a:ext cx="1114425" cy="1371600"/>
          </a:xfrm>
          <a:custGeom>
            <a:avLst/>
            <a:gdLst/>
            <a:ahLst/>
            <a:cxnLst/>
            <a:rect l="l" t="t" r="r" b="b"/>
            <a:pathLst>
              <a:path w="1828800" h="1828800">
                <a:moveTo>
                  <a:pt x="914400" y="914400"/>
                </a:moveTo>
                <a:lnTo>
                  <a:pt x="0" y="914400"/>
                </a:lnTo>
                <a:lnTo>
                  <a:pt x="0" y="1828800"/>
                </a:lnTo>
                <a:lnTo>
                  <a:pt x="914400" y="1828800"/>
                </a:lnTo>
                <a:lnTo>
                  <a:pt x="914400" y="914400"/>
                </a:lnTo>
                <a:close/>
              </a:path>
              <a:path w="1828800" h="1828800">
                <a:moveTo>
                  <a:pt x="182880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1828800" y="914400"/>
                </a:lnTo>
                <a:lnTo>
                  <a:pt x="18288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9DECAC8-71CB-465E-8692-A9FFA0221876}"/>
              </a:ext>
            </a:extLst>
          </p:cNvPr>
          <p:cNvSpPr/>
          <p:nvPr userDrawn="1"/>
        </p:nvSpPr>
        <p:spPr>
          <a:xfrm>
            <a:off x="1211814" y="5552611"/>
            <a:ext cx="216919" cy="266977"/>
          </a:xfrm>
          <a:custGeom>
            <a:avLst/>
            <a:gdLst>
              <a:gd name="connsiteX0" fmla="*/ 87075 w 355969"/>
              <a:gd name="connsiteY0" fmla="*/ 148918 h 355969"/>
              <a:gd name="connsiteX1" fmla="*/ 126655 w 355969"/>
              <a:gd name="connsiteY1" fmla="*/ 148918 h 355969"/>
              <a:gd name="connsiteX2" fmla="*/ 126655 w 355969"/>
              <a:gd name="connsiteY2" fmla="*/ 267657 h 355969"/>
              <a:gd name="connsiteX3" fmla="*/ 87075 w 355969"/>
              <a:gd name="connsiteY3" fmla="*/ 267657 h 355969"/>
              <a:gd name="connsiteX4" fmla="*/ 223377 w 355969"/>
              <a:gd name="connsiteY4" fmla="*/ 146196 h 355969"/>
              <a:gd name="connsiteX5" fmla="*/ 268893 w 355969"/>
              <a:gd name="connsiteY5" fmla="*/ 199628 h 355969"/>
              <a:gd name="connsiteX6" fmla="*/ 268893 w 355969"/>
              <a:gd name="connsiteY6" fmla="*/ 267903 h 355969"/>
              <a:gd name="connsiteX7" fmla="*/ 229314 w 355969"/>
              <a:gd name="connsiteY7" fmla="*/ 267903 h 355969"/>
              <a:gd name="connsiteX8" fmla="*/ 229314 w 355969"/>
              <a:gd name="connsiteY8" fmla="*/ 204328 h 355969"/>
              <a:gd name="connsiteX9" fmla="*/ 209277 w 355969"/>
              <a:gd name="connsiteY9" fmla="*/ 177365 h 355969"/>
              <a:gd name="connsiteX10" fmla="*/ 188992 w 355969"/>
              <a:gd name="connsiteY10" fmla="*/ 191712 h 355969"/>
              <a:gd name="connsiteX11" fmla="*/ 187755 w 355969"/>
              <a:gd name="connsiteY11" fmla="*/ 201360 h 355969"/>
              <a:gd name="connsiteX12" fmla="*/ 187755 w 355969"/>
              <a:gd name="connsiteY12" fmla="*/ 267656 h 355969"/>
              <a:gd name="connsiteX13" fmla="*/ 148423 w 355969"/>
              <a:gd name="connsiteY13" fmla="*/ 267656 h 355969"/>
              <a:gd name="connsiteX14" fmla="*/ 148423 w 355969"/>
              <a:gd name="connsiteY14" fmla="*/ 148917 h 355969"/>
              <a:gd name="connsiteX15" fmla="*/ 187755 w 355969"/>
              <a:gd name="connsiteY15" fmla="*/ 148917 h 355969"/>
              <a:gd name="connsiteX16" fmla="*/ 187755 w 355969"/>
              <a:gd name="connsiteY16" fmla="*/ 165738 h 355969"/>
              <a:gd name="connsiteX17" fmla="*/ 187508 w 355969"/>
              <a:gd name="connsiteY17" fmla="*/ 166233 h 355969"/>
              <a:gd name="connsiteX18" fmla="*/ 187755 w 355969"/>
              <a:gd name="connsiteY18" fmla="*/ 166233 h 355969"/>
              <a:gd name="connsiteX19" fmla="*/ 187755 w 355969"/>
              <a:gd name="connsiteY19" fmla="*/ 165738 h 355969"/>
              <a:gd name="connsiteX20" fmla="*/ 223377 w 355969"/>
              <a:gd name="connsiteY20" fmla="*/ 146196 h 355969"/>
              <a:gd name="connsiteX21" fmla="*/ 107360 w 355969"/>
              <a:gd name="connsiteY21" fmla="*/ 88311 h 355969"/>
              <a:gd name="connsiteX22" fmla="*/ 127644 w 355969"/>
              <a:gd name="connsiteY22" fmla="*/ 108596 h 355969"/>
              <a:gd name="connsiteX23" fmla="*/ 107360 w 355969"/>
              <a:gd name="connsiteY23" fmla="*/ 128880 h 355969"/>
              <a:gd name="connsiteX24" fmla="*/ 87075 w 355969"/>
              <a:gd name="connsiteY24" fmla="*/ 108596 h 355969"/>
              <a:gd name="connsiteX25" fmla="*/ 107360 w 355969"/>
              <a:gd name="connsiteY25" fmla="*/ 88311 h 355969"/>
              <a:gd name="connsiteX26" fmla="*/ 12369 w 355969"/>
              <a:gd name="connsiteY26" fmla="*/ 12369 h 355969"/>
              <a:gd name="connsiteX27" fmla="*/ 12369 w 355969"/>
              <a:gd name="connsiteY27" fmla="*/ 343600 h 355969"/>
              <a:gd name="connsiteX28" fmla="*/ 343600 w 355969"/>
              <a:gd name="connsiteY28" fmla="*/ 343600 h 355969"/>
              <a:gd name="connsiteX29" fmla="*/ 343600 w 355969"/>
              <a:gd name="connsiteY29" fmla="*/ 12369 h 355969"/>
              <a:gd name="connsiteX30" fmla="*/ 0 w 355969"/>
              <a:gd name="connsiteY30" fmla="*/ 0 h 355969"/>
              <a:gd name="connsiteX31" fmla="*/ 355969 w 355969"/>
              <a:gd name="connsiteY31" fmla="*/ 0 h 355969"/>
              <a:gd name="connsiteX32" fmla="*/ 355969 w 355969"/>
              <a:gd name="connsiteY32" fmla="*/ 355969 h 355969"/>
              <a:gd name="connsiteX33" fmla="*/ 0 w 355969"/>
              <a:gd name="connsiteY33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5969" h="355969">
                <a:moveTo>
                  <a:pt x="87075" y="148918"/>
                </a:moveTo>
                <a:lnTo>
                  <a:pt x="126655" y="148918"/>
                </a:lnTo>
                <a:lnTo>
                  <a:pt x="126655" y="267657"/>
                </a:lnTo>
                <a:lnTo>
                  <a:pt x="87075" y="267657"/>
                </a:lnTo>
                <a:close/>
                <a:moveTo>
                  <a:pt x="223377" y="146196"/>
                </a:moveTo>
                <a:cubicBezTo>
                  <a:pt x="249351" y="146196"/>
                  <a:pt x="268893" y="163017"/>
                  <a:pt x="268893" y="199628"/>
                </a:cubicBezTo>
                <a:lnTo>
                  <a:pt x="268893" y="267903"/>
                </a:lnTo>
                <a:lnTo>
                  <a:pt x="229314" y="267903"/>
                </a:lnTo>
                <a:lnTo>
                  <a:pt x="229314" y="204328"/>
                </a:lnTo>
                <a:cubicBezTo>
                  <a:pt x="229314" y="188249"/>
                  <a:pt x="223624" y="177365"/>
                  <a:pt x="209277" y="177365"/>
                </a:cubicBezTo>
                <a:cubicBezTo>
                  <a:pt x="198392" y="177365"/>
                  <a:pt x="191961" y="184539"/>
                  <a:pt x="188992" y="191712"/>
                </a:cubicBezTo>
                <a:cubicBezTo>
                  <a:pt x="188003" y="194186"/>
                  <a:pt x="187755" y="197897"/>
                  <a:pt x="187755" y="201360"/>
                </a:cubicBezTo>
                <a:lnTo>
                  <a:pt x="187755" y="267656"/>
                </a:lnTo>
                <a:lnTo>
                  <a:pt x="148423" y="267656"/>
                </a:lnTo>
                <a:cubicBezTo>
                  <a:pt x="148423" y="267656"/>
                  <a:pt x="148918" y="160049"/>
                  <a:pt x="148423" y="148917"/>
                </a:cubicBezTo>
                <a:lnTo>
                  <a:pt x="187755" y="148917"/>
                </a:lnTo>
                <a:lnTo>
                  <a:pt x="187755" y="165738"/>
                </a:lnTo>
                <a:cubicBezTo>
                  <a:pt x="187755" y="165986"/>
                  <a:pt x="187508" y="165986"/>
                  <a:pt x="187508" y="166233"/>
                </a:cubicBezTo>
                <a:lnTo>
                  <a:pt x="187755" y="166233"/>
                </a:lnTo>
                <a:lnTo>
                  <a:pt x="187755" y="165738"/>
                </a:lnTo>
                <a:cubicBezTo>
                  <a:pt x="192950" y="157822"/>
                  <a:pt x="202350" y="146196"/>
                  <a:pt x="223377" y="146196"/>
                </a:cubicBezTo>
                <a:close/>
                <a:moveTo>
                  <a:pt x="107360" y="88311"/>
                </a:moveTo>
                <a:cubicBezTo>
                  <a:pt x="118491" y="88311"/>
                  <a:pt x="127644" y="97464"/>
                  <a:pt x="127644" y="108596"/>
                </a:cubicBezTo>
                <a:cubicBezTo>
                  <a:pt x="127644" y="119727"/>
                  <a:pt x="118491" y="128880"/>
                  <a:pt x="107360" y="128880"/>
                </a:cubicBezTo>
                <a:cubicBezTo>
                  <a:pt x="96228" y="128880"/>
                  <a:pt x="87075" y="119727"/>
                  <a:pt x="87075" y="108596"/>
                </a:cubicBezTo>
                <a:cubicBezTo>
                  <a:pt x="87075" y="97464"/>
                  <a:pt x="96228" y="88311"/>
                  <a:pt x="107360" y="88311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F4B6AF33-E409-439A-A4AE-378CE2291372}"/>
              </a:ext>
            </a:extLst>
          </p:cNvPr>
          <p:cNvSpPr/>
          <p:nvPr userDrawn="1"/>
        </p:nvSpPr>
        <p:spPr>
          <a:xfrm>
            <a:off x="1539301" y="5552611"/>
            <a:ext cx="216919" cy="266977"/>
          </a:xfrm>
          <a:custGeom>
            <a:avLst/>
            <a:gdLst>
              <a:gd name="connsiteX0" fmla="*/ 157576 w 355969"/>
              <a:gd name="connsiteY0" fmla="*/ 135312 h 355969"/>
              <a:gd name="connsiteX1" fmla="*/ 157576 w 355969"/>
              <a:gd name="connsiteY1" fmla="*/ 212739 h 355969"/>
              <a:gd name="connsiteX2" fmla="*/ 216203 w 355969"/>
              <a:gd name="connsiteY2" fmla="*/ 173902 h 355969"/>
              <a:gd name="connsiteX3" fmla="*/ 106122 w 355969"/>
              <a:gd name="connsiteY3" fmla="*/ 106122 h 355969"/>
              <a:gd name="connsiteX4" fmla="*/ 249845 w 355969"/>
              <a:gd name="connsiteY4" fmla="*/ 106122 h 355969"/>
              <a:gd name="connsiteX5" fmla="*/ 280520 w 355969"/>
              <a:gd name="connsiteY5" fmla="*/ 136796 h 355969"/>
              <a:gd name="connsiteX6" fmla="*/ 280520 w 355969"/>
              <a:gd name="connsiteY6" fmla="*/ 219171 h 355969"/>
              <a:gd name="connsiteX7" fmla="*/ 249845 w 355969"/>
              <a:gd name="connsiteY7" fmla="*/ 249845 h 355969"/>
              <a:gd name="connsiteX8" fmla="*/ 106122 w 355969"/>
              <a:gd name="connsiteY8" fmla="*/ 249845 h 355969"/>
              <a:gd name="connsiteX9" fmla="*/ 75448 w 355969"/>
              <a:gd name="connsiteY9" fmla="*/ 219171 h 355969"/>
              <a:gd name="connsiteX10" fmla="*/ 75448 w 355969"/>
              <a:gd name="connsiteY10" fmla="*/ 136796 h 355969"/>
              <a:gd name="connsiteX11" fmla="*/ 106122 w 355969"/>
              <a:gd name="connsiteY11" fmla="*/ 106122 h 355969"/>
              <a:gd name="connsiteX12" fmla="*/ 12369 w 355969"/>
              <a:gd name="connsiteY12" fmla="*/ 12369 h 355969"/>
              <a:gd name="connsiteX13" fmla="*/ 12369 w 355969"/>
              <a:gd name="connsiteY13" fmla="*/ 343600 h 355969"/>
              <a:gd name="connsiteX14" fmla="*/ 343600 w 355969"/>
              <a:gd name="connsiteY14" fmla="*/ 343600 h 355969"/>
              <a:gd name="connsiteX15" fmla="*/ 343600 w 355969"/>
              <a:gd name="connsiteY15" fmla="*/ 12369 h 355969"/>
              <a:gd name="connsiteX16" fmla="*/ 0 w 355969"/>
              <a:gd name="connsiteY16" fmla="*/ 0 h 355969"/>
              <a:gd name="connsiteX17" fmla="*/ 355969 w 355969"/>
              <a:gd name="connsiteY17" fmla="*/ 0 h 355969"/>
              <a:gd name="connsiteX18" fmla="*/ 355969 w 355969"/>
              <a:gd name="connsiteY18" fmla="*/ 355969 h 355969"/>
              <a:gd name="connsiteX19" fmla="*/ 0 w 355969"/>
              <a:gd name="connsiteY19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5969" h="355969">
                <a:moveTo>
                  <a:pt x="157576" y="135312"/>
                </a:moveTo>
                <a:lnTo>
                  <a:pt x="157576" y="212739"/>
                </a:lnTo>
                <a:lnTo>
                  <a:pt x="216203" y="173902"/>
                </a:lnTo>
                <a:close/>
                <a:moveTo>
                  <a:pt x="106122" y="106122"/>
                </a:moveTo>
                <a:lnTo>
                  <a:pt x="249845" y="106122"/>
                </a:lnTo>
                <a:cubicBezTo>
                  <a:pt x="266914" y="106122"/>
                  <a:pt x="280520" y="119975"/>
                  <a:pt x="280520" y="136796"/>
                </a:cubicBezTo>
                <a:lnTo>
                  <a:pt x="280520" y="219171"/>
                </a:lnTo>
                <a:cubicBezTo>
                  <a:pt x="280520" y="235992"/>
                  <a:pt x="266667" y="249845"/>
                  <a:pt x="249845" y="249845"/>
                </a:cubicBezTo>
                <a:lnTo>
                  <a:pt x="106122" y="249845"/>
                </a:lnTo>
                <a:cubicBezTo>
                  <a:pt x="89053" y="249845"/>
                  <a:pt x="75448" y="235992"/>
                  <a:pt x="75448" y="219171"/>
                </a:cubicBezTo>
                <a:lnTo>
                  <a:pt x="75448" y="136796"/>
                </a:lnTo>
                <a:cubicBezTo>
                  <a:pt x="75448" y="119727"/>
                  <a:pt x="89301" y="106122"/>
                  <a:pt x="106122" y="106122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DAB5BBE-6303-447E-8EA1-1E3F10068624}"/>
              </a:ext>
            </a:extLst>
          </p:cNvPr>
          <p:cNvSpPr/>
          <p:nvPr userDrawn="1"/>
        </p:nvSpPr>
        <p:spPr>
          <a:xfrm>
            <a:off x="1866790" y="5552611"/>
            <a:ext cx="216919" cy="266977"/>
          </a:xfrm>
          <a:custGeom>
            <a:avLst/>
            <a:gdLst>
              <a:gd name="connsiteX0" fmla="*/ 177860 w 355969"/>
              <a:gd name="connsiteY0" fmla="*/ 141496 h 355969"/>
              <a:gd name="connsiteX1" fmla="*/ 141249 w 355969"/>
              <a:gd name="connsiteY1" fmla="*/ 178107 h 355969"/>
              <a:gd name="connsiteX2" fmla="*/ 177860 w 355969"/>
              <a:gd name="connsiteY2" fmla="*/ 214719 h 355969"/>
              <a:gd name="connsiteX3" fmla="*/ 214471 w 355969"/>
              <a:gd name="connsiteY3" fmla="*/ 178107 h 355969"/>
              <a:gd name="connsiteX4" fmla="*/ 177860 w 355969"/>
              <a:gd name="connsiteY4" fmla="*/ 141496 h 355969"/>
              <a:gd name="connsiteX5" fmla="*/ 177860 w 355969"/>
              <a:gd name="connsiteY5" fmla="*/ 121954 h 355969"/>
              <a:gd name="connsiteX6" fmla="*/ 233766 w 355969"/>
              <a:gd name="connsiteY6" fmla="*/ 178107 h 355969"/>
              <a:gd name="connsiteX7" fmla="*/ 177860 w 355969"/>
              <a:gd name="connsiteY7" fmla="*/ 234014 h 355969"/>
              <a:gd name="connsiteX8" fmla="*/ 121954 w 355969"/>
              <a:gd name="connsiteY8" fmla="*/ 177860 h 355969"/>
              <a:gd name="connsiteX9" fmla="*/ 177860 w 355969"/>
              <a:gd name="connsiteY9" fmla="*/ 121954 h 355969"/>
              <a:gd name="connsiteX10" fmla="*/ 235993 w 355969"/>
              <a:gd name="connsiteY10" fmla="*/ 107359 h 355969"/>
              <a:gd name="connsiteX11" fmla="*/ 248609 w 355969"/>
              <a:gd name="connsiteY11" fmla="*/ 119975 h 355969"/>
              <a:gd name="connsiteX12" fmla="*/ 235993 w 355969"/>
              <a:gd name="connsiteY12" fmla="*/ 132591 h 355969"/>
              <a:gd name="connsiteX13" fmla="*/ 223377 w 355969"/>
              <a:gd name="connsiteY13" fmla="*/ 119975 h 355969"/>
              <a:gd name="connsiteX14" fmla="*/ 235993 w 355969"/>
              <a:gd name="connsiteY14" fmla="*/ 107359 h 355969"/>
              <a:gd name="connsiteX15" fmla="*/ 130364 w 355969"/>
              <a:gd name="connsiteY15" fmla="*/ 89053 h 355969"/>
              <a:gd name="connsiteX16" fmla="*/ 88806 w 355969"/>
              <a:gd name="connsiteY16" fmla="*/ 130612 h 355969"/>
              <a:gd name="connsiteX17" fmla="*/ 89053 w 355969"/>
              <a:gd name="connsiteY17" fmla="*/ 130612 h 355969"/>
              <a:gd name="connsiteX18" fmla="*/ 89053 w 355969"/>
              <a:gd name="connsiteY18" fmla="*/ 225355 h 355969"/>
              <a:gd name="connsiteX19" fmla="*/ 130612 w 355969"/>
              <a:gd name="connsiteY19" fmla="*/ 266914 h 355969"/>
              <a:gd name="connsiteX20" fmla="*/ 225108 w 355969"/>
              <a:gd name="connsiteY20" fmla="*/ 266914 h 355969"/>
              <a:gd name="connsiteX21" fmla="*/ 266666 w 355969"/>
              <a:gd name="connsiteY21" fmla="*/ 225355 h 355969"/>
              <a:gd name="connsiteX22" fmla="*/ 266666 w 355969"/>
              <a:gd name="connsiteY22" fmla="*/ 130612 h 355969"/>
              <a:gd name="connsiteX23" fmla="*/ 225108 w 355969"/>
              <a:gd name="connsiteY23" fmla="*/ 89053 h 355969"/>
              <a:gd name="connsiteX24" fmla="*/ 130364 w 355969"/>
              <a:gd name="connsiteY24" fmla="*/ 71737 h 355969"/>
              <a:gd name="connsiteX25" fmla="*/ 225603 w 355969"/>
              <a:gd name="connsiteY25" fmla="*/ 71737 h 355969"/>
              <a:gd name="connsiteX26" fmla="*/ 284230 w 355969"/>
              <a:gd name="connsiteY26" fmla="*/ 130364 h 355969"/>
              <a:gd name="connsiteX27" fmla="*/ 284230 w 355969"/>
              <a:gd name="connsiteY27" fmla="*/ 225603 h 355969"/>
              <a:gd name="connsiteX28" fmla="*/ 225603 w 355969"/>
              <a:gd name="connsiteY28" fmla="*/ 284230 h 355969"/>
              <a:gd name="connsiteX29" fmla="*/ 130364 w 355969"/>
              <a:gd name="connsiteY29" fmla="*/ 284230 h 355969"/>
              <a:gd name="connsiteX30" fmla="*/ 71737 w 355969"/>
              <a:gd name="connsiteY30" fmla="*/ 225603 h 355969"/>
              <a:gd name="connsiteX31" fmla="*/ 71737 w 355969"/>
              <a:gd name="connsiteY31" fmla="*/ 130364 h 355969"/>
              <a:gd name="connsiteX32" fmla="*/ 130364 w 355969"/>
              <a:gd name="connsiteY32" fmla="*/ 71737 h 355969"/>
              <a:gd name="connsiteX33" fmla="*/ 12369 w 355969"/>
              <a:gd name="connsiteY33" fmla="*/ 12369 h 355969"/>
              <a:gd name="connsiteX34" fmla="*/ 12369 w 355969"/>
              <a:gd name="connsiteY34" fmla="*/ 343600 h 355969"/>
              <a:gd name="connsiteX35" fmla="*/ 343600 w 355969"/>
              <a:gd name="connsiteY35" fmla="*/ 343600 h 355969"/>
              <a:gd name="connsiteX36" fmla="*/ 343600 w 355969"/>
              <a:gd name="connsiteY36" fmla="*/ 12369 h 355969"/>
              <a:gd name="connsiteX37" fmla="*/ 0 w 355969"/>
              <a:gd name="connsiteY37" fmla="*/ 0 h 355969"/>
              <a:gd name="connsiteX38" fmla="*/ 355969 w 355969"/>
              <a:gd name="connsiteY38" fmla="*/ 0 h 355969"/>
              <a:gd name="connsiteX39" fmla="*/ 355969 w 355969"/>
              <a:gd name="connsiteY39" fmla="*/ 355969 h 355969"/>
              <a:gd name="connsiteX40" fmla="*/ 0 w 355969"/>
              <a:gd name="connsiteY40" fmla="*/ 355969 h 355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55969" h="355969">
                <a:moveTo>
                  <a:pt x="177860" y="141496"/>
                </a:moveTo>
                <a:cubicBezTo>
                  <a:pt x="157823" y="141496"/>
                  <a:pt x="141496" y="157823"/>
                  <a:pt x="141249" y="178107"/>
                </a:cubicBezTo>
                <a:cubicBezTo>
                  <a:pt x="141249" y="198392"/>
                  <a:pt x="157576" y="214719"/>
                  <a:pt x="177860" y="214719"/>
                </a:cubicBezTo>
                <a:cubicBezTo>
                  <a:pt x="198145" y="214719"/>
                  <a:pt x="214471" y="198392"/>
                  <a:pt x="214471" y="178107"/>
                </a:cubicBezTo>
                <a:cubicBezTo>
                  <a:pt x="214471" y="157823"/>
                  <a:pt x="198145" y="141496"/>
                  <a:pt x="177860" y="141496"/>
                </a:cubicBezTo>
                <a:close/>
                <a:moveTo>
                  <a:pt x="177860" y="121954"/>
                </a:moveTo>
                <a:cubicBezTo>
                  <a:pt x="209029" y="121954"/>
                  <a:pt x="233766" y="147186"/>
                  <a:pt x="233766" y="178107"/>
                </a:cubicBezTo>
                <a:cubicBezTo>
                  <a:pt x="233766" y="209029"/>
                  <a:pt x="208782" y="234014"/>
                  <a:pt x="177860" y="234014"/>
                </a:cubicBezTo>
                <a:cubicBezTo>
                  <a:pt x="146939" y="234014"/>
                  <a:pt x="121954" y="208782"/>
                  <a:pt x="121954" y="177860"/>
                </a:cubicBezTo>
                <a:cubicBezTo>
                  <a:pt x="121954" y="146939"/>
                  <a:pt x="146939" y="121954"/>
                  <a:pt x="177860" y="121954"/>
                </a:cubicBezTo>
                <a:close/>
                <a:moveTo>
                  <a:pt x="235993" y="107359"/>
                </a:moveTo>
                <a:cubicBezTo>
                  <a:pt x="242919" y="107359"/>
                  <a:pt x="248609" y="113049"/>
                  <a:pt x="248609" y="119975"/>
                </a:cubicBezTo>
                <a:cubicBezTo>
                  <a:pt x="248609" y="126901"/>
                  <a:pt x="242919" y="132591"/>
                  <a:pt x="235993" y="132591"/>
                </a:cubicBezTo>
                <a:cubicBezTo>
                  <a:pt x="229067" y="132591"/>
                  <a:pt x="223377" y="126901"/>
                  <a:pt x="223377" y="119975"/>
                </a:cubicBezTo>
                <a:cubicBezTo>
                  <a:pt x="223377" y="113049"/>
                  <a:pt x="229067" y="107359"/>
                  <a:pt x="235993" y="107359"/>
                </a:cubicBezTo>
                <a:close/>
                <a:moveTo>
                  <a:pt x="130364" y="89053"/>
                </a:moveTo>
                <a:cubicBezTo>
                  <a:pt x="107359" y="89053"/>
                  <a:pt x="88806" y="107606"/>
                  <a:pt x="88806" y="130612"/>
                </a:cubicBezTo>
                <a:lnTo>
                  <a:pt x="89053" y="130612"/>
                </a:lnTo>
                <a:lnTo>
                  <a:pt x="89053" y="225355"/>
                </a:lnTo>
                <a:cubicBezTo>
                  <a:pt x="89053" y="248361"/>
                  <a:pt x="107606" y="266914"/>
                  <a:pt x="130612" y="266914"/>
                </a:cubicBezTo>
                <a:lnTo>
                  <a:pt x="225108" y="266914"/>
                </a:lnTo>
                <a:cubicBezTo>
                  <a:pt x="248113" y="266914"/>
                  <a:pt x="266666" y="248361"/>
                  <a:pt x="266666" y="225355"/>
                </a:cubicBezTo>
                <a:lnTo>
                  <a:pt x="266666" y="130612"/>
                </a:lnTo>
                <a:cubicBezTo>
                  <a:pt x="266666" y="107606"/>
                  <a:pt x="248113" y="89053"/>
                  <a:pt x="225108" y="89053"/>
                </a:cubicBezTo>
                <a:close/>
                <a:moveTo>
                  <a:pt x="130364" y="71737"/>
                </a:moveTo>
                <a:lnTo>
                  <a:pt x="225603" y="71737"/>
                </a:lnTo>
                <a:cubicBezTo>
                  <a:pt x="258008" y="71737"/>
                  <a:pt x="284230" y="97958"/>
                  <a:pt x="284230" y="130364"/>
                </a:cubicBezTo>
                <a:lnTo>
                  <a:pt x="284230" y="225603"/>
                </a:lnTo>
                <a:cubicBezTo>
                  <a:pt x="284230" y="258008"/>
                  <a:pt x="258008" y="284230"/>
                  <a:pt x="225603" y="284230"/>
                </a:cubicBezTo>
                <a:lnTo>
                  <a:pt x="130364" y="284230"/>
                </a:lnTo>
                <a:cubicBezTo>
                  <a:pt x="97958" y="284230"/>
                  <a:pt x="71737" y="258008"/>
                  <a:pt x="71737" y="225603"/>
                </a:cubicBezTo>
                <a:lnTo>
                  <a:pt x="71737" y="130364"/>
                </a:lnTo>
                <a:cubicBezTo>
                  <a:pt x="71737" y="97958"/>
                  <a:pt x="97958" y="71737"/>
                  <a:pt x="130364" y="71737"/>
                </a:cubicBezTo>
                <a:close/>
                <a:moveTo>
                  <a:pt x="12369" y="12369"/>
                </a:moveTo>
                <a:lnTo>
                  <a:pt x="12369" y="343600"/>
                </a:lnTo>
                <a:lnTo>
                  <a:pt x="343600" y="343600"/>
                </a:lnTo>
                <a:lnTo>
                  <a:pt x="343600" y="12369"/>
                </a:lnTo>
                <a:close/>
                <a:moveTo>
                  <a:pt x="0" y="0"/>
                </a:moveTo>
                <a:lnTo>
                  <a:pt x="355969" y="0"/>
                </a:lnTo>
                <a:lnTo>
                  <a:pt x="355969" y="355969"/>
                </a:lnTo>
                <a:lnTo>
                  <a:pt x="0" y="355969"/>
                </a:lnTo>
                <a:close/>
              </a:path>
            </a:pathLst>
          </a:custGeom>
          <a:solidFill>
            <a:schemeClr val="bg1"/>
          </a:solidFill>
          <a:ln w="2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731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FBBE171D-EA4E-452C-8EBE-60BD260840FF}"/>
              </a:ext>
            </a:extLst>
          </p:cNvPr>
          <p:cNvSpPr/>
          <p:nvPr userDrawn="1"/>
        </p:nvSpPr>
        <p:spPr>
          <a:xfrm>
            <a:off x="7677150" y="34290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005473"/>
          </a:solidFill>
        </p:spPr>
        <p:txBody>
          <a:bodyPr wrap="square" lIns="0" tIns="0" rIns="0" bIns="0" rtlCol="0"/>
          <a:lstStyle/>
          <a:p>
            <a:endParaRPr sz="731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609C26D4-87EE-42AD-8338-D5EE327E9EA9}"/>
              </a:ext>
            </a:extLst>
          </p:cNvPr>
          <p:cNvSpPr txBox="1"/>
          <p:nvPr userDrawn="1"/>
        </p:nvSpPr>
        <p:spPr>
          <a:xfrm>
            <a:off x="3645098" y="3895726"/>
            <a:ext cx="1245989" cy="214153"/>
          </a:xfrm>
          <a:prstGeom prst="rect">
            <a:avLst/>
          </a:prstGeom>
        </p:spPr>
        <p:txBody>
          <a:bodyPr vert="horz" wrap="square" lIns="0" tIns="7739" rIns="0" bIns="0" rtlCol="0">
            <a:spAutoFit/>
          </a:bodyPr>
          <a:lstStyle/>
          <a:p>
            <a:pPr marL="7739" algn="r">
              <a:lnSpc>
                <a:spcPct val="100000"/>
              </a:lnSpc>
              <a:spcBef>
                <a:spcPts val="61"/>
              </a:spcBef>
            </a:pPr>
            <a:r>
              <a:rPr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inetum.</a:t>
            </a:r>
            <a:r>
              <a:rPr lang="fr-FR" sz="1341" b="1" dirty="0">
                <a:solidFill>
                  <a:srgbClr val="EF4641"/>
                </a:solidFill>
                <a:latin typeface="Verdana" panose="020B0604030504040204" pitchFamily="34" charset="0"/>
                <a:cs typeface="Poppins ExtraBold"/>
              </a:rPr>
              <a:t>com</a:t>
            </a:r>
            <a:endParaRPr sz="1341" dirty="0">
              <a:latin typeface="Verdana" panose="020B0604030504040204" pitchFamily="34" charset="0"/>
              <a:cs typeface="Poppins ExtraBold"/>
            </a:endParaRPr>
          </a:p>
        </p:txBody>
      </p:sp>
      <p:sp>
        <p:nvSpPr>
          <p:cNvPr id="19" name="object 29">
            <a:extLst>
              <a:ext uri="{FF2B5EF4-FFF2-40B4-BE49-F238E27FC236}">
                <a16:creationId xmlns:a16="http://schemas.microsoft.com/office/drawing/2014/main" id="{6F3CD315-706A-434B-868F-34214EBB8D8B}"/>
              </a:ext>
            </a:extLst>
          </p:cNvPr>
          <p:cNvSpPr txBox="1"/>
          <p:nvPr userDrawn="1"/>
        </p:nvSpPr>
        <p:spPr>
          <a:xfrm>
            <a:off x="549473" y="4791073"/>
            <a:ext cx="4960739" cy="538691"/>
          </a:xfrm>
          <a:prstGeom prst="rect">
            <a:avLst/>
          </a:prstGeom>
        </p:spPr>
        <p:txBody>
          <a:bodyPr vert="horz" wrap="square" lIns="0" tIns="13543" rIns="0" bIns="0" rtlCol="0">
            <a:spAutoFit/>
          </a:bodyPr>
          <a:lstStyle/>
          <a:p>
            <a:pPr marL="8126" marR="3096" indent="-774" algn="just">
              <a:lnSpc>
                <a:spcPct val="100000"/>
              </a:lnSpc>
              <a:spcBef>
                <a:spcPts val="107"/>
              </a:spcBef>
            </a:pP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FRANC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SPAGNE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RTU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ELGI</a:t>
            </a:r>
            <a:r>
              <a:rPr lang="fr-FR"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UISSE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LUXEMBOURG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lang="fr-FR"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LETERRE</a:t>
            </a:r>
            <a:r>
              <a:rPr sz="853" spc="6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OL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OGN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AN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OC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TUNIS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N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GA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ÔTE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’IVOIRE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NGOL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AMER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N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S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BR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S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IL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LOMB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MEX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P </a:t>
            </a:r>
            <a:r>
              <a:rPr lang="fr-FR"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DU</a:t>
            </a:r>
            <a:r>
              <a:rPr sz="853" spc="9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ANAM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</a:t>
            </a:r>
            <a:r>
              <a:rPr lang="fr-FR"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</a:t>
            </a:r>
            <a:r>
              <a:rPr lang="fr-FR"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O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HILI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 </a:t>
            </a:r>
            <a:r>
              <a:rPr sz="853" spc="12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COSTA RICA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R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É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PUBLI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QUE DOMINICAIN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ARGENTIN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 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SINGAPO</a:t>
            </a:r>
            <a:r>
              <a:rPr lang="fr-FR"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UR</a:t>
            </a:r>
            <a:r>
              <a:rPr sz="853" spc="15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sz="853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|</a:t>
            </a:r>
            <a:r>
              <a:rPr sz="853" spc="61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 </a:t>
            </a:r>
            <a:r>
              <a:rPr lang="fr-FR" sz="853" spc="18" dirty="0">
                <a:solidFill>
                  <a:srgbClr val="00AC9C"/>
                </a:solidFill>
                <a:latin typeface="Verdana" panose="020B0604030504040204" pitchFamily="34" charset="0"/>
                <a:cs typeface="Poppins"/>
              </a:rPr>
              <a:t>E.A.U</a:t>
            </a:r>
            <a:endParaRPr sz="853" dirty="0">
              <a:latin typeface="Verdana" panose="020B0604030504040204" pitchFamily="34" charset="0"/>
              <a:cs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4193309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34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98553" y="98195"/>
            <a:ext cx="5835600" cy="306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Interne - DIG - Présentation Outils BU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9432" y="420330"/>
            <a:ext cx="8614721" cy="68580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432" y="1248355"/>
            <a:ext cx="8614721" cy="5227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03105" y="100575"/>
            <a:ext cx="5831048" cy="115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66747" y="0"/>
            <a:ext cx="342000" cy="3996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45720" rIns="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5D1AE67-A6AF-4140-9B54-D4B451EC2AA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TextBox 11"/>
          <p:cNvSpPr txBox="1"/>
          <p:nvPr/>
        </p:nvSpPr>
        <p:spPr>
          <a:xfrm>
            <a:off x="0" y="6741368"/>
            <a:ext cx="9906000" cy="116632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1"/>
              </a:gs>
            </a:gsLst>
            <a:lin ang="16200000" scaled="0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square" lIns="121837" tIns="0" rIns="103155" bIns="69040" anchor="ctr">
            <a:normAutofit fontScale="25000" lnSpcReduction="20000"/>
          </a:bodyPr>
          <a:lstStyle>
            <a:lvl1pPr marL="0" lvl="0" defTabSz="515813" eaLnBrk="1" latinLnBrk="0" hangingPunct="1">
              <a:buNone/>
              <a:defRPr lang="en-US" sz="4100" b="0" i="0" dirty="0">
                <a:ea typeface="+mn-ea"/>
                <a:cs typeface="+mn-cs"/>
              </a:defRPr>
            </a:lvl1pPr>
          </a:lstStyle>
          <a:p>
            <a:endParaRPr sz="4100">
              <a:solidFill>
                <a:srgbClr val="242424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6939" y="6089653"/>
            <a:ext cx="784195" cy="55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283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1" r:id="rId2"/>
    <p:sldLayoutId id="2147483870" r:id="rId3"/>
    <p:sldLayoutId id="2147483690" r:id="rId4"/>
    <p:sldLayoutId id="2147483890" r:id="rId5"/>
    <p:sldLayoutId id="2147483885" r:id="rId6"/>
    <p:sldLayoutId id="2147483881" r:id="rId7"/>
    <p:sldLayoutId id="2147483886" r:id="rId8"/>
    <p:sldLayoutId id="2147483887" r:id="rId9"/>
    <p:sldLayoutId id="2147483888" r:id="rId10"/>
    <p:sldLayoutId id="2147483889" r:id="rId11"/>
    <p:sldLayoutId id="2147483872" r:id="rId12"/>
    <p:sldLayoutId id="2147483892" r:id="rId13"/>
    <p:sldLayoutId id="2147483884" r:id="rId14"/>
    <p:sldLayoutId id="2147483899" r:id="rId15"/>
    <p:sldLayoutId id="2147483902" r:id="rId16"/>
    <p:sldLayoutId id="2147483901" r:id="rId17"/>
    <p:sldLayoutId id="2147483873" r:id="rId18"/>
    <p:sldLayoutId id="2147483882" r:id="rId19"/>
    <p:sldLayoutId id="2147483891" r:id="rId20"/>
    <p:sldLayoutId id="2147483734" r:id="rId21"/>
    <p:sldLayoutId id="2147483731" r:id="rId22"/>
    <p:sldLayoutId id="2147483718" r:id="rId23"/>
    <p:sldLayoutId id="2147483893" r:id="rId24"/>
    <p:sldLayoutId id="2147483733" r:id="rId25"/>
    <p:sldLayoutId id="2147483900" r:id="rId26"/>
    <p:sldLayoutId id="2147483897" r:id="rId27"/>
    <p:sldLayoutId id="2147483874" r:id="rId28"/>
    <p:sldLayoutId id="2147483880" r:id="rId29"/>
    <p:sldLayoutId id="2147483877" r:id="rId30"/>
    <p:sldLayoutId id="2147483875" r:id="rId31"/>
    <p:sldLayoutId id="2147483898" r:id="rId32"/>
    <p:sldLayoutId id="2147483876" r:id="rId33"/>
    <p:sldLayoutId id="2147483878" r:id="rId34"/>
    <p:sldLayoutId id="2147483732" r:id="rId35"/>
    <p:sldLayoutId id="2147483883" r:id="rId36"/>
    <p:sldLayoutId id="2147483879" r:id="rId37"/>
    <p:sldLayoutId id="2147483896" r:id="rId38"/>
    <p:sldLayoutId id="2147483895" r:id="rId39"/>
    <p:sldLayoutId id="2147483894" r:id="rId40"/>
    <p:sldLayoutId id="2147483755" r:id="rId41"/>
    <p:sldLayoutId id="2147483865" r:id="rId42"/>
    <p:sldLayoutId id="2147483866" r:id="rId4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Myriad Pro" panose="020B0503030403020204" pitchFamily="34" charset="0"/>
        <a:buChar char="›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yriad Pro" panose="020B0503030403020204" pitchFamily="34" charset="0"/>
        <a:buChar char="›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200"/>
        </a:spcBef>
        <a:buFont typeface="Myriad Pro" panose="020B0503030403020204" pitchFamily="34" charset="0"/>
        <a:buChar char="›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100"/>
        </a:spcBef>
        <a:buFont typeface="Myriad Pro" panose="020B0503030403020204" pitchFamily="34" charset="0"/>
        <a:buChar char="›"/>
        <a:defRPr sz="14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0"/>
        </a:spcBef>
        <a:buFont typeface="Myriad Pro" panose="020B0503030403020204" pitchFamily="34" charset="0"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95761A52-1304-4A60-8DEE-CE0F518B2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229"/>
            <a:ext cx="8543925" cy="435173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noProof="0" dirty="0"/>
              <a:t>Text level 1</a:t>
            </a:r>
          </a:p>
          <a:p>
            <a:pPr lvl="1"/>
            <a:r>
              <a:rPr lang="en-US" noProof="0" dirty="0"/>
              <a:t>Text level 2</a:t>
            </a:r>
          </a:p>
          <a:p>
            <a:pPr lvl="2"/>
            <a:r>
              <a:rPr lang="en-US" noProof="0" dirty="0"/>
              <a:t>Text level 3</a:t>
            </a:r>
          </a:p>
          <a:p>
            <a:pPr lvl="3"/>
            <a:r>
              <a:rPr lang="en-US" noProof="0" dirty="0"/>
              <a:t>Text level 4</a:t>
            </a:r>
          </a:p>
          <a:p>
            <a:pPr lvl="4"/>
            <a:r>
              <a:rPr lang="en-US" noProof="0" dirty="0"/>
              <a:t>Text level 5</a:t>
            </a:r>
          </a:p>
          <a:p>
            <a:pPr lvl="5"/>
            <a:r>
              <a:rPr lang="en-US" noProof="0" dirty="0"/>
              <a:t>Text level 6</a:t>
            </a:r>
          </a:p>
          <a:p>
            <a:pPr lvl="6"/>
            <a:r>
              <a:rPr lang="en-US" noProof="0" dirty="0"/>
              <a:t>Text level 7</a:t>
            </a:r>
          </a:p>
          <a:p>
            <a:pPr lvl="7"/>
            <a:r>
              <a:rPr lang="en-US" noProof="0" dirty="0"/>
              <a:t>Text level 8</a:t>
            </a:r>
          </a:p>
        </p:txBody>
      </p:sp>
      <p:sp>
        <p:nvSpPr>
          <p:cNvPr id="3" name="bg object 20">
            <a:extLst>
              <a:ext uri="{FF2B5EF4-FFF2-40B4-BE49-F238E27FC236}">
                <a16:creationId xmlns:a16="http://schemas.microsoft.com/office/drawing/2014/main" id="{D3E5BA15-966F-4DD8-AA19-992D7F85BCCC}"/>
              </a:ext>
            </a:extLst>
          </p:cNvPr>
          <p:cNvSpPr/>
          <p:nvPr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1097" noProof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9C00CF-42F5-4DD5-BD7D-F5309C838D05}"/>
              </a:ext>
            </a:extLst>
          </p:cNvPr>
          <p:cNvSpPr txBox="1"/>
          <p:nvPr/>
        </p:nvSpPr>
        <p:spPr>
          <a:xfrm>
            <a:off x="9417666" y="6409850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13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13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DDCEA-0DE3-47D0-9375-2237A04C9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3" y="6412034"/>
            <a:ext cx="3343275" cy="1860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8565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txStyles>
    <p:titleStyle>
      <a:lvl1pPr marL="8775" algn="l" eaLnBrk="1" hangingPunct="1">
        <a:spcBef>
          <a:spcPts val="61"/>
        </a:spcBef>
        <a:defRPr sz="3291">
          <a:latin typeface="+mj-lt"/>
          <a:ea typeface="+mj-ea"/>
          <a:cs typeface="+mj-cs"/>
        </a:defRPr>
      </a:lvl1pPr>
    </p:titleStyle>
    <p:bodyStyle>
      <a:lvl1pPr marL="0" algn="l" eaLnBrk="1" hangingPunct="1">
        <a:lnSpc>
          <a:spcPct val="110000"/>
        </a:lnSpc>
        <a:spcBef>
          <a:spcPts val="378"/>
        </a:spcBef>
        <a:spcAft>
          <a:spcPts val="378"/>
        </a:spcAft>
        <a:defRPr sz="1463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algn="l" eaLnBrk="1" hangingPunct="1">
        <a:lnSpc>
          <a:spcPct val="110000"/>
        </a:lnSpc>
        <a:spcBef>
          <a:spcPts val="0"/>
        </a:spcBef>
        <a:spcAft>
          <a:spcPts val="378"/>
        </a:spcAft>
        <a:defRPr sz="128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0" algn="l" eaLnBrk="1" hangingPunct="1">
        <a:lnSpc>
          <a:spcPct val="110000"/>
        </a:lnSpc>
        <a:spcBef>
          <a:spcPts val="0"/>
        </a:spcBef>
        <a:spcAft>
          <a:spcPts val="378"/>
        </a:spcAft>
        <a:defRPr kern="1200" baseline="0">
          <a:solidFill>
            <a:schemeClr val="accent3"/>
          </a:solidFill>
          <a:latin typeface="+mn-lt"/>
          <a:ea typeface="+mn-ea"/>
          <a:cs typeface="+mn-cs"/>
        </a:defRPr>
      </a:lvl3pPr>
      <a:lvl4pPr marL="175500" indent="-131625" algn="l" eaLnBrk="1" hangingPunct="1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1097" kern="1200" baseline="0">
          <a:solidFill>
            <a:schemeClr val="accent3"/>
          </a:solidFill>
          <a:latin typeface="+mn-lt"/>
          <a:ea typeface="+mn-ea"/>
          <a:cs typeface="+mn-cs"/>
        </a:defRPr>
      </a:lvl4pPr>
      <a:lvl5pPr marL="0" algn="l" eaLnBrk="1" hangingPunct="1">
        <a:lnSpc>
          <a:spcPct val="110000"/>
        </a:lnSpc>
        <a:spcBef>
          <a:spcPts val="0"/>
        </a:spcBef>
        <a:spcAft>
          <a:spcPts val="378"/>
        </a:spcAft>
        <a:defRPr sz="914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75500" indent="-131625" algn="l" eaLnBrk="1" hangingPunct="1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914">
          <a:solidFill>
            <a:schemeClr val="tx2"/>
          </a:solidFill>
          <a:latin typeface="+mn-lt"/>
          <a:ea typeface="+mn-ea"/>
          <a:cs typeface="+mn-cs"/>
        </a:defRPr>
      </a:lvl6pPr>
      <a:lvl7pPr marL="0" algn="l" eaLnBrk="1" hangingPunct="1">
        <a:lnSpc>
          <a:spcPct val="110000"/>
        </a:lnSpc>
        <a:spcBef>
          <a:spcPts val="378"/>
        </a:spcBef>
        <a:spcAft>
          <a:spcPts val="0"/>
        </a:spcAft>
        <a:defRPr sz="792">
          <a:solidFill>
            <a:schemeClr val="accent1"/>
          </a:solidFill>
          <a:latin typeface="+mn-lt"/>
          <a:ea typeface="+mn-ea"/>
          <a:cs typeface="+mn-cs"/>
        </a:defRPr>
      </a:lvl7pPr>
      <a:lvl8pPr marL="175500" indent="-131625" algn="l" eaLnBrk="1" hangingPunct="1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792">
          <a:solidFill>
            <a:schemeClr val="accent1"/>
          </a:solidFill>
          <a:latin typeface="+mn-lt"/>
          <a:ea typeface="+mn-ea"/>
          <a:cs typeface="+mn-cs"/>
        </a:defRPr>
      </a:lvl8pPr>
      <a:lvl9pPr marL="222885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78606" eaLnBrk="1" hangingPunct="1">
        <a:defRPr>
          <a:latin typeface="+mn-lt"/>
          <a:ea typeface="+mn-ea"/>
          <a:cs typeface="+mn-cs"/>
        </a:defRPr>
      </a:lvl2pPr>
      <a:lvl3pPr marL="557213" eaLnBrk="1" hangingPunct="1">
        <a:defRPr>
          <a:latin typeface="+mn-lt"/>
          <a:ea typeface="+mn-ea"/>
          <a:cs typeface="+mn-cs"/>
        </a:defRPr>
      </a:lvl3pPr>
      <a:lvl4pPr marL="835819" eaLnBrk="1" hangingPunct="1">
        <a:defRPr>
          <a:latin typeface="+mn-lt"/>
          <a:ea typeface="+mn-ea"/>
          <a:cs typeface="+mn-cs"/>
        </a:defRPr>
      </a:lvl4pPr>
      <a:lvl5pPr marL="1114425" eaLnBrk="1" hangingPunct="1">
        <a:defRPr>
          <a:latin typeface="+mn-lt"/>
          <a:ea typeface="+mn-ea"/>
          <a:cs typeface="+mn-cs"/>
        </a:defRPr>
      </a:lvl5pPr>
      <a:lvl6pPr marL="1393031" eaLnBrk="1" hangingPunct="1">
        <a:defRPr>
          <a:latin typeface="+mn-lt"/>
          <a:ea typeface="+mn-ea"/>
          <a:cs typeface="+mn-cs"/>
        </a:defRPr>
      </a:lvl6pPr>
      <a:lvl7pPr marL="1671638" eaLnBrk="1" hangingPunct="1">
        <a:defRPr>
          <a:latin typeface="+mn-lt"/>
          <a:ea typeface="+mn-ea"/>
          <a:cs typeface="+mn-cs"/>
        </a:defRPr>
      </a:lvl7pPr>
      <a:lvl8pPr marL="1950244" eaLnBrk="1" hangingPunct="1">
        <a:defRPr>
          <a:latin typeface="+mn-lt"/>
          <a:ea typeface="+mn-ea"/>
          <a:cs typeface="+mn-cs"/>
        </a:defRPr>
      </a:lvl8pPr>
      <a:lvl9pPr marL="222885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95761A52-1304-4A60-8DEE-CE0F518B2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229"/>
            <a:ext cx="8543925" cy="435173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noProof="0" dirty="0"/>
              <a:t>Text level 1</a:t>
            </a:r>
          </a:p>
          <a:p>
            <a:pPr lvl="1"/>
            <a:r>
              <a:rPr lang="en-US" noProof="0" dirty="0"/>
              <a:t>Text level 2</a:t>
            </a:r>
          </a:p>
          <a:p>
            <a:pPr lvl="2"/>
            <a:r>
              <a:rPr lang="en-US" noProof="0" dirty="0"/>
              <a:t>Text level 3</a:t>
            </a:r>
          </a:p>
          <a:p>
            <a:pPr lvl="3"/>
            <a:r>
              <a:rPr lang="en-US" noProof="0" dirty="0"/>
              <a:t>Text level 4</a:t>
            </a:r>
          </a:p>
          <a:p>
            <a:pPr lvl="4"/>
            <a:r>
              <a:rPr lang="en-US" noProof="0" dirty="0"/>
              <a:t>Text level 5</a:t>
            </a:r>
          </a:p>
          <a:p>
            <a:pPr lvl="5"/>
            <a:r>
              <a:rPr lang="en-US" noProof="0" dirty="0"/>
              <a:t>Text level 6</a:t>
            </a:r>
          </a:p>
          <a:p>
            <a:pPr lvl="6"/>
            <a:r>
              <a:rPr lang="en-US" noProof="0" dirty="0"/>
              <a:t>Text level 7</a:t>
            </a:r>
          </a:p>
          <a:p>
            <a:pPr lvl="7"/>
            <a:r>
              <a:rPr lang="en-US" noProof="0" dirty="0"/>
              <a:t>Text level 8</a:t>
            </a:r>
          </a:p>
        </p:txBody>
      </p:sp>
      <p:sp>
        <p:nvSpPr>
          <p:cNvPr id="3" name="bg object 20">
            <a:extLst>
              <a:ext uri="{FF2B5EF4-FFF2-40B4-BE49-F238E27FC236}">
                <a16:creationId xmlns:a16="http://schemas.microsoft.com/office/drawing/2014/main" id="{D3E5BA15-966F-4DD8-AA19-992D7F85BCCC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9C00CF-42F5-4DD5-BD7D-F5309C838D05}"/>
              </a:ext>
            </a:extLst>
          </p:cNvPr>
          <p:cNvSpPr txBox="1"/>
          <p:nvPr userDrawn="1"/>
        </p:nvSpPr>
        <p:spPr>
          <a:xfrm>
            <a:off x="9417665" y="6409849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35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35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DDCEA-0DE3-47D0-9375-2237A04C9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en-US"/>
              <a:t>15/06/2021  |  ©2020 Inetum  | Ref. XXXXXX v1.0 Classification: [choose internal, external or confidential] document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52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717" r:id="rId7"/>
    <p:sldLayoutId id="2147483699" r:id="rId8"/>
    <p:sldLayoutId id="2147483700" r:id="rId9"/>
    <p:sldLayoutId id="2147483719" r:id="rId10"/>
    <p:sldLayoutId id="2147483701" r:id="rId11"/>
    <p:sldLayoutId id="2147483702" r:id="rId12"/>
    <p:sldLayoutId id="2147483703" r:id="rId13"/>
    <p:sldLayoutId id="2147483721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20" r:id="rId26"/>
    <p:sldLayoutId id="2147483938" r:id="rId27"/>
    <p:sldLayoutId id="2147483936" r:id="rId28"/>
  </p:sldLayoutIdLst>
  <p:hf sldNum="0" hdr="0" dt="0"/>
  <p:txStyles>
    <p:titleStyle>
      <a:lvl1pPr marL="8775" algn="l">
        <a:spcBef>
          <a:spcPts val="61"/>
        </a:spcBef>
        <a:defRPr sz="3291">
          <a:latin typeface="+mj-lt"/>
          <a:ea typeface="+mj-ea"/>
          <a:cs typeface="+mj-cs"/>
        </a:defRPr>
      </a:lvl1pPr>
    </p:titleStyle>
    <p:bodyStyle>
      <a:lvl1pPr marL="0" algn="l">
        <a:lnSpc>
          <a:spcPct val="110000"/>
        </a:lnSpc>
        <a:spcBef>
          <a:spcPts val="378"/>
        </a:spcBef>
        <a:spcAft>
          <a:spcPts val="378"/>
        </a:spcAft>
        <a:defRPr sz="1463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algn="l">
        <a:lnSpc>
          <a:spcPct val="110000"/>
        </a:lnSpc>
        <a:spcBef>
          <a:spcPts val="0"/>
        </a:spcBef>
        <a:spcAft>
          <a:spcPts val="378"/>
        </a:spcAft>
        <a:defRPr sz="128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0" algn="l">
        <a:lnSpc>
          <a:spcPct val="110000"/>
        </a:lnSpc>
        <a:spcBef>
          <a:spcPts val="0"/>
        </a:spcBef>
        <a:spcAft>
          <a:spcPts val="378"/>
        </a:spcAft>
        <a:defRPr kern="1200" baseline="0">
          <a:solidFill>
            <a:schemeClr val="accent3"/>
          </a:solidFill>
          <a:latin typeface="+mn-lt"/>
          <a:ea typeface="+mn-ea"/>
          <a:cs typeface="+mn-cs"/>
        </a:defRPr>
      </a:lvl3pPr>
      <a:lvl4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1097" kern="1200" baseline="0">
          <a:solidFill>
            <a:schemeClr val="accent3"/>
          </a:solidFill>
          <a:latin typeface="+mn-lt"/>
          <a:ea typeface="+mn-ea"/>
          <a:cs typeface="+mn-cs"/>
        </a:defRPr>
      </a:lvl4pPr>
      <a:lvl5pPr marL="0" algn="l">
        <a:lnSpc>
          <a:spcPct val="110000"/>
        </a:lnSpc>
        <a:spcBef>
          <a:spcPts val="0"/>
        </a:spcBef>
        <a:spcAft>
          <a:spcPts val="378"/>
        </a:spcAft>
        <a:defRPr sz="914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914">
          <a:solidFill>
            <a:schemeClr val="tx2"/>
          </a:solidFill>
          <a:latin typeface="+mn-lt"/>
          <a:ea typeface="+mn-ea"/>
          <a:cs typeface="+mn-cs"/>
        </a:defRPr>
      </a:lvl6pPr>
      <a:lvl7pPr marL="0" algn="l">
        <a:lnSpc>
          <a:spcPct val="110000"/>
        </a:lnSpc>
        <a:spcBef>
          <a:spcPts val="378"/>
        </a:spcBef>
        <a:spcAft>
          <a:spcPts val="0"/>
        </a:spcAft>
        <a:defRPr sz="792">
          <a:solidFill>
            <a:schemeClr val="accent1"/>
          </a:solidFill>
          <a:latin typeface="+mn-lt"/>
          <a:ea typeface="+mn-ea"/>
          <a:cs typeface="+mn-cs"/>
        </a:defRPr>
      </a:lvl7pPr>
      <a:lvl8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792">
          <a:solidFill>
            <a:schemeClr val="accent1"/>
          </a:solidFill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8618">
        <a:defRPr>
          <a:latin typeface="+mn-lt"/>
          <a:ea typeface="+mn-ea"/>
          <a:cs typeface="+mn-cs"/>
        </a:defRPr>
      </a:lvl2pPr>
      <a:lvl3pPr marL="557235">
        <a:defRPr>
          <a:latin typeface="+mn-lt"/>
          <a:ea typeface="+mn-ea"/>
          <a:cs typeface="+mn-cs"/>
        </a:defRPr>
      </a:lvl3pPr>
      <a:lvl4pPr marL="835853">
        <a:defRPr>
          <a:latin typeface="+mn-lt"/>
          <a:ea typeface="+mn-ea"/>
          <a:cs typeface="+mn-cs"/>
        </a:defRPr>
      </a:lvl4pPr>
      <a:lvl5pPr marL="1114471">
        <a:defRPr>
          <a:latin typeface="+mn-lt"/>
          <a:ea typeface="+mn-ea"/>
          <a:cs typeface="+mn-cs"/>
        </a:defRPr>
      </a:lvl5pPr>
      <a:lvl6pPr marL="1393088">
        <a:defRPr>
          <a:latin typeface="+mn-lt"/>
          <a:ea typeface="+mn-ea"/>
          <a:cs typeface="+mn-cs"/>
        </a:defRPr>
      </a:lvl6pPr>
      <a:lvl7pPr marL="1671706">
        <a:defRPr>
          <a:latin typeface="+mn-lt"/>
          <a:ea typeface="+mn-ea"/>
          <a:cs typeface="+mn-cs"/>
        </a:defRPr>
      </a:lvl7pPr>
      <a:lvl8pPr marL="1950324">
        <a:defRPr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95761A52-1304-4A60-8DEE-CE0F518B2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229"/>
            <a:ext cx="8543925" cy="435173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noProof="0" dirty="0"/>
              <a:t>Text level 1</a:t>
            </a:r>
          </a:p>
          <a:p>
            <a:pPr lvl="1"/>
            <a:r>
              <a:rPr lang="en-US" noProof="0" dirty="0"/>
              <a:t>Text level 2</a:t>
            </a:r>
          </a:p>
          <a:p>
            <a:pPr lvl="2"/>
            <a:r>
              <a:rPr lang="en-US" noProof="0" dirty="0"/>
              <a:t>Text level 3</a:t>
            </a:r>
          </a:p>
          <a:p>
            <a:pPr lvl="3"/>
            <a:r>
              <a:rPr lang="en-US" noProof="0" dirty="0"/>
              <a:t>Text level 4</a:t>
            </a:r>
          </a:p>
          <a:p>
            <a:pPr lvl="4"/>
            <a:r>
              <a:rPr lang="en-US" noProof="0" dirty="0"/>
              <a:t>Text level 5</a:t>
            </a:r>
          </a:p>
          <a:p>
            <a:pPr lvl="5"/>
            <a:r>
              <a:rPr lang="en-US" noProof="0" dirty="0"/>
              <a:t>Text level 6</a:t>
            </a:r>
          </a:p>
          <a:p>
            <a:pPr lvl="6"/>
            <a:r>
              <a:rPr lang="en-US" noProof="0" dirty="0"/>
              <a:t>Text level 7</a:t>
            </a:r>
          </a:p>
          <a:p>
            <a:pPr lvl="7"/>
            <a:r>
              <a:rPr lang="en-US" noProof="0" dirty="0"/>
              <a:t>Text level 8</a:t>
            </a:r>
          </a:p>
        </p:txBody>
      </p:sp>
      <p:sp>
        <p:nvSpPr>
          <p:cNvPr id="3" name="bg object 20">
            <a:extLst>
              <a:ext uri="{FF2B5EF4-FFF2-40B4-BE49-F238E27FC236}">
                <a16:creationId xmlns:a16="http://schemas.microsoft.com/office/drawing/2014/main" id="{D3E5BA15-966F-4DD8-AA19-992D7F85BCCC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9C00CF-42F5-4DD5-BD7D-F5309C838D05}"/>
              </a:ext>
            </a:extLst>
          </p:cNvPr>
          <p:cNvSpPr txBox="1"/>
          <p:nvPr userDrawn="1"/>
        </p:nvSpPr>
        <p:spPr>
          <a:xfrm>
            <a:off x="9417665" y="6305647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35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35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0722045-20FB-45FA-9117-8ADC510CA52D}"/>
              </a:ext>
            </a:extLst>
          </p:cNvPr>
          <p:cNvCxnSpPr>
            <a:cxnSpLocks/>
          </p:cNvCxnSpPr>
          <p:nvPr userDrawn="1"/>
        </p:nvCxnSpPr>
        <p:spPr>
          <a:xfrm>
            <a:off x="9453707" y="6549390"/>
            <a:ext cx="347374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0F18753-7D26-490B-9E11-C62C33337156}"/>
              </a:ext>
            </a:extLst>
          </p:cNvPr>
          <p:cNvSpPr txBox="1"/>
          <p:nvPr userDrawn="1"/>
        </p:nvSpPr>
        <p:spPr>
          <a:xfrm>
            <a:off x="9353984" y="6598710"/>
            <a:ext cx="546820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5418" lvl="0" indent="0" algn="ctr" defTabSz="557235" rtl="0" eaLnBrk="1" fontAlgn="auto" latinLnBrk="0" hangingPunct="1">
              <a:lnSpc>
                <a:spcPct val="100000"/>
              </a:lnSpc>
              <a:spcBef>
                <a:spcPts val="41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2" b="0" i="0" u="none" strike="noStrike" kern="1200" cap="none" spc="49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7</a:t>
            </a:r>
            <a:endParaRPr lang="en-US" sz="792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DDCEA-0DE3-47D0-9375-2237A04C9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18289"/>
            <a:ext cx="3343275" cy="37356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01/09/2020  |  ©2020 </a:t>
            </a:r>
            <a:r>
              <a:rPr lang="en-US" dirty="0" err="1"/>
              <a:t>Inetum</a:t>
            </a:r>
            <a:r>
              <a:rPr lang="en-US" dirty="0"/>
              <a:t>  | Ref. XXXXXX v1.0</a:t>
            </a:r>
          </a:p>
          <a:p>
            <a:r>
              <a:rPr lang="en-US" dirty="0"/>
              <a:t>Classification: [choose internal, external or confidential] document</a:t>
            </a:r>
          </a:p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5552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  <p:sldLayoutId id="2147483919" r:id="rId16"/>
    <p:sldLayoutId id="2147483920" r:id="rId17"/>
    <p:sldLayoutId id="2147483921" r:id="rId18"/>
    <p:sldLayoutId id="2147483922" r:id="rId19"/>
    <p:sldLayoutId id="2147483923" r:id="rId20"/>
    <p:sldLayoutId id="2147483924" r:id="rId21"/>
    <p:sldLayoutId id="2147483925" r:id="rId22"/>
    <p:sldLayoutId id="2147483926" r:id="rId23"/>
    <p:sldLayoutId id="2147483927" r:id="rId24"/>
    <p:sldLayoutId id="2147483928" r:id="rId25"/>
    <p:sldLayoutId id="2147483929" r:id="rId26"/>
    <p:sldLayoutId id="2147483930" r:id="rId27"/>
    <p:sldLayoutId id="2147483939" r:id="rId28"/>
    <p:sldLayoutId id="2147483940" r:id="rId29"/>
  </p:sldLayoutIdLst>
  <p:hf sldNum="0" hdr="0" dt="0"/>
  <p:txStyles>
    <p:titleStyle>
      <a:lvl1pPr marL="8775" algn="l">
        <a:spcBef>
          <a:spcPts val="61"/>
        </a:spcBef>
        <a:defRPr sz="3291">
          <a:latin typeface="+mj-lt"/>
          <a:ea typeface="+mj-ea"/>
          <a:cs typeface="+mj-cs"/>
        </a:defRPr>
      </a:lvl1pPr>
    </p:titleStyle>
    <p:bodyStyle>
      <a:lvl1pPr marL="0" algn="l">
        <a:lnSpc>
          <a:spcPct val="110000"/>
        </a:lnSpc>
        <a:spcBef>
          <a:spcPts val="378"/>
        </a:spcBef>
        <a:spcAft>
          <a:spcPts val="378"/>
        </a:spcAft>
        <a:defRPr sz="1463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algn="l">
        <a:lnSpc>
          <a:spcPct val="110000"/>
        </a:lnSpc>
        <a:spcBef>
          <a:spcPts val="0"/>
        </a:spcBef>
        <a:spcAft>
          <a:spcPts val="378"/>
        </a:spcAft>
        <a:defRPr sz="128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0" algn="l">
        <a:lnSpc>
          <a:spcPct val="110000"/>
        </a:lnSpc>
        <a:spcBef>
          <a:spcPts val="0"/>
        </a:spcBef>
        <a:spcAft>
          <a:spcPts val="378"/>
        </a:spcAft>
        <a:defRPr kern="1200" baseline="0">
          <a:solidFill>
            <a:schemeClr val="accent3"/>
          </a:solidFill>
          <a:latin typeface="+mn-lt"/>
          <a:ea typeface="+mn-ea"/>
          <a:cs typeface="+mn-cs"/>
        </a:defRPr>
      </a:lvl3pPr>
      <a:lvl4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1097" kern="1200" baseline="0">
          <a:solidFill>
            <a:schemeClr val="accent3"/>
          </a:solidFill>
          <a:latin typeface="+mn-lt"/>
          <a:ea typeface="+mn-ea"/>
          <a:cs typeface="+mn-cs"/>
        </a:defRPr>
      </a:lvl4pPr>
      <a:lvl5pPr marL="0" algn="l">
        <a:lnSpc>
          <a:spcPct val="110000"/>
        </a:lnSpc>
        <a:spcBef>
          <a:spcPts val="0"/>
        </a:spcBef>
        <a:spcAft>
          <a:spcPts val="378"/>
        </a:spcAft>
        <a:defRPr sz="914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914">
          <a:solidFill>
            <a:schemeClr val="tx2"/>
          </a:solidFill>
          <a:latin typeface="+mn-lt"/>
          <a:ea typeface="+mn-ea"/>
          <a:cs typeface="+mn-cs"/>
        </a:defRPr>
      </a:lvl6pPr>
      <a:lvl7pPr marL="0" algn="l">
        <a:lnSpc>
          <a:spcPct val="110000"/>
        </a:lnSpc>
        <a:spcBef>
          <a:spcPts val="378"/>
        </a:spcBef>
        <a:spcAft>
          <a:spcPts val="0"/>
        </a:spcAft>
        <a:defRPr sz="792">
          <a:solidFill>
            <a:schemeClr val="accent1"/>
          </a:solidFill>
          <a:latin typeface="+mn-lt"/>
          <a:ea typeface="+mn-ea"/>
          <a:cs typeface="+mn-cs"/>
        </a:defRPr>
      </a:lvl7pPr>
      <a:lvl8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792">
          <a:solidFill>
            <a:schemeClr val="accent1"/>
          </a:solidFill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8618">
        <a:defRPr>
          <a:latin typeface="+mn-lt"/>
          <a:ea typeface="+mn-ea"/>
          <a:cs typeface="+mn-cs"/>
        </a:defRPr>
      </a:lvl2pPr>
      <a:lvl3pPr marL="557235">
        <a:defRPr>
          <a:latin typeface="+mn-lt"/>
          <a:ea typeface="+mn-ea"/>
          <a:cs typeface="+mn-cs"/>
        </a:defRPr>
      </a:lvl3pPr>
      <a:lvl4pPr marL="835853">
        <a:defRPr>
          <a:latin typeface="+mn-lt"/>
          <a:ea typeface="+mn-ea"/>
          <a:cs typeface="+mn-cs"/>
        </a:defRPr>
      </a:lvl4pPr>
      <a:lvl5pPr marL="1114471">
        <a:defRPr>
          <a:latin typeface="+mn-lt"/>
          <a:ea typeface="+mn-ea"/>
          <a:cs typeface="+mn-cs"/>
        </a:defRPr>
      </a:lvl5pPr>
      <a:lvl6pPr marL="1393088">
        <a:defRPr>
          <a:latin typeface="+mn-lt"/>
          <a:ea typeface="+mn-ea"/>
          <a:cs typeface="+mn-cs"/>
        </a:defRPr>
      </a:lvl6pPr>
      <a:lvl7pPr marL="1671706">
        <a:defRPr>
          <a:latin typeface="+mn-lt"/>
          <a:ea typeface="+mn-ea"/>
          <a:cs typeface="+mn-cs"/>
        </a:defRPr>
      </a:lvl7pPr>
      <a:lvl8pPr marL="1950324">
        <a:defRPr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95761A52-1304-4A60-8DEE-CE0F518B2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229"/>
            <a:ext cx="8543925" cy="435173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  <a:p>
            <a:pPr lvl="5"/>
            <a:r>
              <a:rPr lang="en-US" noProof="0"/>
              <a:t>Text level 6</a:t>
            </a:r>
          </a:p>
          <a:p>
            <a:pPr lvl="6"/>
            <a:r>
              <a:rPr lang="en-US" noProof="0"/>
              <a:t>Text level 7</a:t>
            </a:r>
          </a:p>
          <a:p>
            <a:pPr lvl="7"/>
            <a:r>
              <a:rPr lang="en-US" noProof="0"/>
              <a:t>Text level 8</a:t>
            </a:r>
          </a:p>
        </p:txBody>
      </p:sp>
      <p:sp>
        <p:nvSpPr>
          <p:cNvPr id="3" name="bg object 20">
            <a:extLst>
              <a:ext uri="{FF2B5EF4-FFF2-40B4-BE49-F238E27FC236}">
                <a16:creationId xmlns:a16="http://schemas.microsoft.com/office/drawing/2014/main" id="{D3E5BA15-966F-4DD8-AA19-992D7F85BCCC}"/>
              </a:ext>
            </a:extLst>
          </p:cNvPr>
          <p:cNvSpPr/>
          <p:nvPr userDrawn="1"/>
        </p:nvSpPr>
        <p:spPr>
          <a:xfrm>
            <a:off x="9348787" y="6172200"/>
            <a:ext cx="557213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0" y="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EF4641"/>
          </a:solidFill>
        </p:spPr>
        <p:txBody>
          <a:bodyPr wrap="square" lIns="0" tIns="0" rIns="0" bIns="0" rtlCol="0"/>
          <a:lstStyle/>
          <a:p>
            <a:endParaRPr lang="en-US" sz="731" noProof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9C00CF-42F5-4DD5-BD7D-F5309C838D05}"/>
              </a:ext>
            </a:extLst>
          </p:cNvPr>
          <p:cNvSpPr txBox="1"/>
          <p:nvPr userDrawn="1"/>
        </p:nvSpPr>
        <p:spPr>
          <a:xfrm>
            <a:off x="9417665" y="6418897"/>
            <a:ext cx="419458" cy="210503"/>
          </a:xfrm>
          <a:prstGeom prst="rect">
            <a:avLst/>
          </a:prstGeom>
          <a:noFill/>
        </p:spPr>
        <p:txBody>
          <a:bodyPr wrap="square" lIns="0" tIns="15356" rIns="0" bIns="0" rtlCol="0">
            <a:noAutofit/>
          </a:bodyPr>
          <a:lstStyle/>
          <a:p>
            <a:pPr marL="0" marR="10835" lvl="0" indent="0" algn="ctr" defTabSz="557235" rtl="0" eaLnBrk="1" fontAlgn="auto" latinLnBrk="0" hangingPunct="1">
              <a:lnSpc>
                <a:spcPct val="100000"/>
              </a:lnSpc>
              <a:spcBef>
                <a:spcPts val="1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6FCAC-631C-483D-BA00-980BAEA6F3AA}" type="slidenum">
              <a:rPr kumimoji="0" lang="en-US" sz="1219" b="0" i="0" u="none" strike="noStrike" kern="1200" cap="none" spc="61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10835" lvl="0" indent="0" algn="ctr" defTabSz="557235" rtl="0" eaLnBrk="1" fontAlgn="auto" latinLnBrk="0" hangingPunct="1">
                <a:lnSpc>
                  <a:spcPct val="100000"/>
                </a:lnSpc>
                <a:spcBef>
                  <a:spcPts val="12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792" spc="61" baseline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DDCEA-0DE3-47D0-9375-2237A04C9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6572" y="6365161"/>
            <a:ext cx="3343275" cy="27982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9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12/01/2022  |  ©2022 Inetum  | Réunion de Présentation interne - v1.0   Classification: [internal] document TMA Occitanie</a:t>
            </a:r>
          </a:p>
        </p:txBody>
      </p:sp>
    </p:spTree>
    <p:extLst>
      <p:ext uri="{BB962C8B-B14F-4D97-AF65-F5344CB8AC3E}">
        <p14:creationId xmlns:p14="http://schemas.microsoft.com/office/powerpoint/2010/main" val="195552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722" r:id="rId5"/>
    <p:sldLayoutId id="2147483937" r:id="rId6"/>
    <p:sldLayoutId id="2147483723" r:id="rId7"/>
    <p:sldLayoutId id="2147483724" r:id="rId8"/>
    <p:sldLayoutId id="2147483725" r:id="rId9"/>
  </p:sldLayoutIdLst>
  <p:hf sldNum="0" hdr="0" dt="0"/>
  <p:txStyles>
    <p:titleStyle>
      <a:lvl1pPr marL="8775" algn="l">
        <a:spcBef>
          <a:spcPts val="61"/>
        </a:spcBef>
        <a:defRPr sz="3291">
          <a:latin typeface="+mj-lt"/>
          <a:ea typeface="+mj-ea"/>
          <a:cs typeface="+mj-cs"/>
        </a:defRPr>
      </a:lvl1pPr>
    </p:titleStyle>
    <p:bodyStyle>
      <a:lvl1pPr marL="0" algn="l">
        <a:lnSpc>
          <a:spcPct val="110000"/>
        </a:lnSpc>
        <a:spcBef>
          <a:spcPts val="378"/>
        </a:spcBef>
        <a:spcAft>
          <a:spcPts val="378"/>
        </a:spcAft>
        <a:defRPr sz="1463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algn="l">
        <a:lnSpc>
          <a:spcPct val="110000"/>
        </a:lnSpc>
        <a:spcBef>
          <a:spcPts val="0"/>
        </a:spcBef>
        <a:spcAft>
          <a:spcPts val="378"/>
        </a:spcAft>
        <a:defRPr sz="128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0" algn="l">
        <a:lnSpc>
          <a:spcPct val="110000"/>
        </a:lnSpc>
        <a:spcBef>
          <a:spcPts val="0"/>
        </a:spcBef>
        <a:spcAft>
          <a:spcPts val="378"/>
        </a:spcAft>
        <a:defRPr kern="1200" baseline="0">
          <a:solidFill>
            <a:schemeClr val="accent3"/>
          </a:solidFill>
          <a:latin typeface="+mn-lt"/>
          <a:ea typeface="+mn-ea"/>
          <a:cs typeface="+mn-cs"/>
        </a:defRPr>
      </a:lvl3pPr>
      <a:lvl4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1097" kern="1200" baseline="0">
          <a:solidFill>
            <a:schemeClr val="accent3"/>
          </a:solidFill>
          <a:latin typeface="+mn-lt"/>
          <a:ea typeface="+mn-ea"/>
          <a:cs typeface="+mn-cs"/>
        </a:defRPr>
      </a:lvl4pPr>
      <a:lvl5pPr marL="0" algn="l">
        <a:lnSpc>
          <a:spcPct val="110000"/>
        </a:lnSpc>
        <a:spcBef>
          <a:spcPts val="0"/>
        </a:spcBef>
        <a:spcAft>
          <a:spcPts val="378"/>
        </a:spcAft>
        <a:defRPr sz="914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914">
          <a:solidFill>
            <a:schemeClr val="tx2"/>
          </a:solidFill>
          <a:latin typeface="+mn-lt"/>
          <a:ea typeface="+mn-ea"/>
          <a:cs typeface="+mn-cs"/>
        </a:defRPr>
      </a:lvl6pPr>
      <a:lvl7pPr marL="0" algn="l">
        <a:lnSpc>
          <a:spcPct val="110000"/>
        </a:lnSpc>
        <a:spcBef>
          <a:spcPts val="378"/>
        </a:spcBef>
        <a:spcAft>
          <a:spcPts val="0"/>
        </a:spcAft>
        <a:defRPr sz="792">
          <a:solidFill>
            <a:schemeClr val="accent1"/>
          </a:solidFill>
          <a:latin typeface="+mn-lt"/>
          <a:ea typeface="+mn-ea"/>
          <a:cs typeface="+mn-cs"/>
        </a:defRPr>
      </a:lvl7pPr>
      <a:lvl8pPr marL="175507" indent="-131630" algn="l">
        <a:lnSpc>
          <a:spcPct val="110000"/>
        </a:lnSpc>
        <a:spcBef>
          <a:spcPts val="0"/>
        </a:spcBef>
        <a:spcAft>
          <a:spcPts val="451"/>
        </a:spcAft>
        <a:buFont typeface="Wingdings" panose="05000000000000000000" pitchFamily="2" charset="2"/>
        <a:buChar char="§"/>
        <a:defRPr sz="792">
          <a:solidFill>
            <a:schemeClr val="accent1"/>
          </a:solidFill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8618">
        <a:defRPr>
          <a:latin typeface="+mn-lt"/>
          <a:ea typeface="+mn-ea"/>
          <a:cs typeface="+mn-cs"/>
        </a:defRPr>
      </a:lvl2pPr>
      <a:lvl3pPr marL="557235">
        <a:defRPr>
          <a:latin typeface="+mn-lt"/>
          <a:ea typeface="+mn-ea"/>
          <a:cs typeface="+mn-cs"/>
        </a:defRPr>
      </a:lvl3pPr>
      <a:lvl4pPr marL="835853">
        <a:defRPr>
          <a:latin typeface="+mn-lt"/>
          <a:ea typeface="+mn-ea"/>
          <a:cs typeface="+mn-cs"/>
        </a:defRPr>
      </a:lvl4pPr>
      <a:lvl5pPr marL="1114471">
        <a:defRPr>
          <a:latin typeface="+mn-lt"/>
          <a:ea typeface="+mn-ea"/>
          <a:cs typeface="+mn-cs"/>
        </a:defRPr>
      </a:lvl5pPr>
      <a:lvl6pPr marL="1393088">
        <a:defRPr>
          <a:latin typeface="+mn-lt"/>
          <a:ea typeface="+mn-ea"/>
          <a:cs typeface="+mn-cs"/>
        </a:defRPr>
      </a:lvl6pPr>
      <a:lvl7pPr marL="1671706">
        <a:defRPr>
          <a:latin typeface="+mn-lt"/>
          <a:ea typeface="+mn-ea"/>
          <a:cs typeface="+mn-cs"/>
        </a:defRPr>
      </a:lvl7pPr>
      <a:lvl8pPr marL="1950324">
        <a:defRPr>
          <a:latin typeface="+mn-lt"/>
          <a:ea typeface="+mn-ea"/>
          <a:cs typeface="+mn-cs"/>
        </a:defRPr>
      </a:lvl8pPr>
      <a:lvl9pPr marL="222894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4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14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openxmlformats.org/officeDocument/2006/relationships/image" Target="../media/image88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82.png"/><Relationship Id="rId12" Type="http://schemas.openxmlformats.org/officeDocument/2006/relationships/image" Target="../media/image87.png"/><Relationship Id="rId2" Type="http://schemas.openxmlformats.org/officeDocument/2006/relationships/diagramData" Target="../diagrams/data1.xml"/><Relationship Id="rId16" Type="http://schemas.openxmlformats.org/officeDocument/2006/relationships/image" Target="../media/image91.png"/><Relationship Id="rId1" Type="http://schemas.openxmlformats.org/officeDocument/2006/relationships/slideLayout" Target="../slideLayouts/slideLayout114.xml"/><Relationship Id="rId6" Type="http://schemas.microsoft.com/office/2007/relationships/diagramDrawing" Target="../diagrams/drawing1.xml"/><Relationship Id="rId11" Type="http://schemas.openxmlformats.org/officeDocument/2006/relationships/image" Target="../media/image86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90.png"/><Relationship Id="rId10" Type="http://schemas.openxmlformats.org/officeDocument/2006/relationships/image" Target="../media/image85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84.png"/><Relationship Id="rId14" Type="http://schemas.openxmlformats.org/officeDocument/2006/relationships/image" Target="../media/image89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2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12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3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8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5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5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5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5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5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5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5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60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5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2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2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3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3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3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18.xml"/><Relationship Id="rId5" Type="http://schemas.openxmlformats.org/officeDocument/2006/relationships/image" Target="../media/image49.jpg"/><Relationship Id="rId4" Type="http://schemas.openxmlformats.org/officeDocument/2006/relationships/image" Target="../media/image6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1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ED25F98-7EB7-EB47-D21B-D8AD1F649E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2550" y="3429000"/>
            <a:ext cx="7200900" cy="1196755"/>
          </a:xfrm>
        </p:spPr>
        <p:txBody>
          <a:bodyPr/>
          <a:lstStyle/>
          <a:p>
            <a:r>
              <a:rPr lang="fr-FR" dirty="0"/>
              <a:t>Hub Entreprendr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59D47288-0EBD-0C0B-66F0-962933F5D3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7500" y="1410354"/>
            <a:ext cx="1676828" cy="1170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4607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8F9714-72E3-54F8-B7CE-EADB828E93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473" y="697702"/>
            <a:ext cx="7561065" cy="858490"/>
          </a:xfrm>
        </p:spPr>
        <p:txBody>
          <a:bodyPr/>
          <a:lstStyle/>
          <a:p>
            <a:r>
              <a:rPr lang="fr-FR" dirty="0"/>
              <a:t>Enjeux stratégiques pour le Conseil Régional d’Occitanie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0C4862A0-AE43-DC16-BF4F-E3410879B071}"/>
              </a:ext>
            </a:extLst>
          </p:cNvPr>
          <p:cNvGrpSpPr/>
          <p:nvPr/>
        </p:nvGrpSpPr>
        <p:grpSpPr>
          <a:xfrm>
            <a:off x="1752" y="2114172"/>
            <a:ext cx="9235347" cy="4241929"/>
            <a:chOff x="681232" y="1374717"/>
            <a:chExt cx="10088550" cy="4773671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D6C94CA-BBD1-E88A-979F-FA5BDA62E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1075" y="2373313"/>
              <a:ext cx="2501900" cy="2503488"/>
            </a:xfrm>
            <a:custGeom>
              <a:avLst/>
              <a:gdLst>
                <a:gd name="T0" fmla="*/ 460 w 721"/>
                <a:gd name="T1" fmla="*/ 55 h 721"/>
                <a:gd name="T2" fmla="*/ 666 w 721"/>
                <a:gd name="T3" fmla="*/ 460 h 721"/>
                <a:gd name="T4" fmla="*/ 261 w 721"/>
                <a:gd name="T5" fmla="*/ 666 h 721"/>
                <a:gd name="T6" fmla="*/ 55 w 721"/>
                <a:gd name="T7" fmla="*/ 261 h 721"/>
                <a:gd name="T8" fmla="*/ 460 w 721"/>
                <a:gd name="T9" fmla="*/ 55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1" h="721">
                  <a:moveTo>
                    <a:pt x="460" y="55"/>
                  </a:moveTo>
                  <a:cubicBezTo>
                    <a:pt x="628" y="110"/>
                    <a:pt x="721" y="291"/>
                    <a:pt x="666" y="460"/>
                  </a:cubicBezTo>
                  <a:cubicBezTo>
                    <a:pt x="611" y="629"/>
                    <a:pt x="430" y="721"/>
                    <a:pt x="261" y="666"/>
                  </a:cubicBezTo>
                  <a:cubicBezTo>
                    <a:pt x="92" y="612"/>
                    <a:pt x="0" y="430"/>
                    <a:pt x="55" y="261"/>
                  </a:cubicBezTo>
                  <a:cubicBezTo>
                    <a:pt x="109" y="93"/>
                    <a:pt x="291" y="0"/>
                    <a:pt x="460" y="5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260146B0-43E2-0C2F-7744-887B7B1EC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3609975"/>
              <a:ext cx="2468563" cy="2532063"/>
            </a:xfrm>
            <a:custGeom>
              <a:avLst/>
              <a:gdLst>
                <a:gd name="T0" fmla="*/ 608 w 712"/>
                <a:gd name="T1" fmla="*/ 553 h 729"/>
                <a:gd name="T2" fmla="*/ 159 w 712"/>
                <a:gd name="T3" fmla="*/ 624 h 729"/>
                <a:gd name="T4" fmla="*/ 43 w 712"/>
                <a:gd name="T5" fmla="*/ 264 h 729"/>
                <a:gd name="T6" fmla="*/ 88 w 712"/>
                <a:gd name="T7" fmla="*/ 175 h 729"/>
                <a:gd name="T8" fmla="*/ 537 w 712"/>
                <a:gd name="T9" fmla="*/ 104 h 729"/>
                <a:gd name="T10" fmla="*/ 539 w 712"/>
                <a:gd name="T11" fmla="*/ 105 h 729"/>
                <a:gd name="T12" fmla="*/ 608 w 712"/>
                <a:gd name="T13" fmla="*/ 553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2" h="729">
                  <a:moveTo>
                    <a:pt x="608" y="553"/>
                  </a:moveTo>
                  <a:cubicBezTo>
                    <a:pt x="504" y="697"/>
                    <a:pt x="303" y="729"/>
                    <a:pt x="159" y="624"/>
                  </a:cubicBezTo>
                  <a:cubicBezTo>
                    <a:pt x="43" y="540"/>
                    <a:pt x="0" y="393"/>
                    <a:pt x="43" y="264"/>
                  </a:cubicBezTo>
                  <a:cubicBezTo>
                    <a:pt x="53" y="233"/>
                    <a:pt x="68" y="203"/>
                    <a:pt x="88" y="175"/>
                  </a:cubicBezTo>
                  <a:cubicBezTo>
                    <a:pt x="192" y="32"/>
                    <a:pt x="393" y="0"/>
                    <a:pt x="537" y="104"/>
                  </a:cubicBezTo>
                  <a:cubicBezTo>
                    <a:pt x="537" y="105"/>
                    <a:pt x="538" y="105"/>
                    <a:pt x="539" y="105"/>
                  </a:cubicBezTo>
                  <a:cubicBezTo>
                    <a:pt x="681" y="210"/>
                    <a:pt x="712" y="410"/>
                    <a:pt x="608" y="55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5FA85757-AD36-53C3-CC1F-7566B6BF1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4938" y="3616325"/>
              <a:ext cx="2527300" cy="2532063"/>
            </a:xfrm>
            <a:custGeom>
              <a:avLst/>
              <a:gdLst>
                <a:gd name="T0" fmla="*/ 104 w 729"/>
                <a:gd name="T1" fmla="*/ 553 h 729"/>
                <a:gd name="T2" fmla="*/ 175 w 729"/>
                <a:gd name="T3" fmla="*/ 104 h 729"/>
                <a:gd name="T4" fmla="*/ 624 w 729"/>
                <a:gd name="T5" fmla="*/ 175 h 729"/>
                <a:gd name="T6" fmla="*/ 553 w 729"/>
                <a:gd name="T7" fmla="*/ 624 h 729"/>
                <a:gd name="T8" fmla="*/ 104 w 729"/>
                <a:gd name="T9" fmla="*/ 553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9" h="729">
                  <a:moveTo>
                    <a:pt x="104" y="553"/>
                  </a:moveTo>
                  <a:cubicBezTo>
                    <a:pt x="0" y="410"/>
                    <a:pt x="32" y="209"/>
                    <a:pt x="175" y="104"/>
                  </a:cubicBezTo>
                  <a:cubicBezTo>
                    <a:pt x="319" y="0"/>
                    <a:pt x="520" y="32"/>
                    <a:pt x="624" y="175"/>
                  </a:cubicBezTo>
                  <a:cubicBezTo>
                    <a:pt x="729" y="319"/>
                    <a:pt x="697" y="520"/>
                    <a:pt x="553" y="624"/>
                  </a:cubicBezTo>
                  <a:cubicBezTo>
                    <a:pt x="409" y="729"/>
                    <a:pt x="208" y="697"/>
                    <a:pt x="104" y="55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A1BA1F80-84F5-26BC-3DC7-FD49B5309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2387600"/>
              <a:ext cx="2500313" cy="2503488"/>
            </a:xfrm>
            <a:custGeom>
              <a:avLst/>
              <a:gdLst>
                <a:gd name="T0" fmla="*/ 460 w 721"/>
                <a:gd name="T1" fmla="*/ 666 h 721"/>
                <a:gd name="T2" fmla="*/ 55 w 721"/>
                <a:gd name="T3" fmla="*/ 459 h 721"/>
                <a:gd name="T4" fmla="*/ 261 w 721"/>
                <a:gd name="T5" fmla="*/ 54 h 721"/>
                <a:gd name="T6" fmla="*/ 666 w 721"/>
                <a:gd name="T7" fmla="*/ 261 h 721"/>
                <a:gd name="T8" fmla="*/ 460 w 721"/>
                <a:gd name="T9" fmla="*/ 666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1" h="721">
                  <a:moveTo>
                    <a:pt x="460" y="666"/>
                  </a:moveTo>
                  <a:cubicBezTo>
                    <a:pt x="291" y="721"/>
                    <a:pt x="110" y="628"/>
                    <a:pt x="55" y="459"/>
                  </a:cubicBezTo>
                  <a:cubicBezTo>
                    <a:pt x="0" y="291"/>
                    <a:pt x="93" y="109"/>
                    <a:pt x="261" y="54"/>
                  </a:cubicBezTo>
                  <a:cubicBezTo>
                    <a:pt x="430" y="0"/>
                    <a:pt x="612" y="92"/>
                    <a:pt x="666" y="261"/>
                  </a:cubicBezTo>
                  <a:cubicBezTo>
                    <a:pt x="721" y="430"/>
                    <a:pt x="629" y="611"/>
                    <a:pt x="460" y="66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11" name="Oval 9">
              <a:extLst>
                <a:ext uri="{FF2B5EF4-FFF2-40B4-BE49-F238E27FC236}">
                  <a16:creationId xmlns:a16="http://schemas.microsoft.com/office/drawing/2014/main" id="{ACB57F3E-E712-D9AF-95F2-52E36EC07F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8050" y="1744663"/>
              <a:ext cx="2230438" cy="22336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C2295C3-4357-3DD7-EA5E-9204E9861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8050" y="2508250"/>
              <a:ext cx="1304925" cy="1470025"/>
            </a:xfrm>
            <a:custGeom>
              <a:avLst/>
              <a:gdLst>
                <a:gd name="T0" fmla="*/ 321 w 376"/>
                <a:gd name="T1" fmla="*/ 421 h 423"/>
                <a:gd name="T2" fmla="*/ 320 w 376"/>
                <a:gd name="T3" fmla="*/ 423 h 423"/>
                <a:gd name="T4" fmla="*/ 0 w 376"/>
                <a:gd name="T5" fmla="*/ 102 h 423"/>
                <a:gd name="T6" fmla="*/ 17 w 376"/>
                <a:gd name="T7" fmla="*/ 0 h 423"/>
                <a:gd name="T8" fmla="*/ 115 w 376"/>
                <a:gd name="T9" fmla="*/ 16 h 423"/>
                <a:gd name="T10" fmla="*/ 321 w 376"/>
                <a:gd name="T11" fmla="*/ 42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6" h="423">
                  <a:moveTo>
                    <a:pt x="321" y="421"/>
                  </a:moveTo>
                  <a:cubicBezTo>
                    <a:pt x="321" y="422"/>
                    <a:pt x="321" y="422"/>
                    <a:pt x="320" y="423"/>
                  </a:cubicBezTo>
                  <a:cubicBezTo>
                    <a:pt x="143" y="422"/>
                    <a:pt x="0" y="279"/>
                    <a:pt x="0" y="102"/>
                  </a:cubicBezTo>
                  <a:cubicBezTo>
                    <a:pt x="0" y="66"/>
                    <a:pt x="6" y="32"/>
                    <a:pt x="17" y="0"/>
                  </a:cubicBezTo>
                  <a:cubicBezTo>
                    <a:pt x="49" y="0"/>
                    <a:pt x="82" y="6"/>
                    <a:pt x="115" y="16"/>
                  </a:cubicBezTo>
                  <a:cubicBezTo>
                    <a:pt x="283" y="71"/>
                    <a:pt x="376" y="252"/>
                    <a:pt x="321" y="42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BED112DA-0292-4F81-8A7A-79F59F214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325" y="2855913"/>
              <a:ext cx="2109788" cy="2114550"/>
            </a:xfrm>
            <a:custGeom>
              <a:avLst/>
              <a:gdLst>
                <a:gd name="T0" fmla="*/ 388 w 608"/>
                <a:gd name="T1" fmla="*/ 562 h 609"/>
                <a:gd name="T2" fmla="*/ 46 w 608"/>
                <a:gd name="T3" fmla="*/ 388 h 609"/>
                <a:gd name="T4" fmla="*/ 220 w 608"/>
                <a:gd name="T5" fmla="*/ 46 h 609"/>
                <a:gd name="T6" fmla="*/ 562 w 608"/>
                <a:gd name="T7" fmla="*/ 220 h 609"/>
                <a:gd name="T8" fmla="*/ 388 w 608"/>
                <a:gd name="T9" fmla="*/ 562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8" h="609">
                  <a:moveTo>
                    <a:pt x="388" y="562"/>
                  </a:moveTo>
                  <a:cubicBezTo>
                    <a:pt x="245" y="609"/>
                    <a:pt x="92" y="531"/>
                    <a:pt x="46" y="388"/>
                  </a:cubicBezTo>
                  <a:cubicBezTo>
                    <a:pt x="0" y="246"/>
                    <a:pt x="78" y="93"/>
                    <a:pt x="220" y="46"/>
                  </a:cubicBezTo>
                  <a:cubicBezTo>
                    <a:pt x="363" y="0"/>
                    <a:pt x="516" y="78"/>
                    <a:pt x="562" y="220"/>
                  </a:cubicBezTo>
                  <a:cubicBezTo>
                    <a:pt x="608" y="363"/>
                    <a:pt x="530" y="516"/>
                    <a:pt x="388" y="5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251CF41F-7020-1401-BE8C-0A7977EFD0EB}"/>
                </a:ext>
              </a:extLst>
            </p:cNvPr>
            <p:cNvSpPr>
              <a:spLocks/>
            </p:cNvSpPr>
            <p:nvPr/>
          </p:nvSpPr>
          <p:spPr bwMode="auto">
            <a:xfrm rot="2068708">
              <a:off x="6190456" y="1673015"/>
              <a:ext cx="481013" cy="433388"/>
            </a:xfrm>
            <a:custGeom>
              <a:avLst/>
              <a:gdLst>
                <a:gd name="T0" fmla="*/ 303 w 303"/>
                <a:gd name="T1" fmla="*/ 273 h 273"/>
                <a:gd name="T2" fmla="*/ 153 w 303"/>
                <a:gd name="T3" fmla="*/ 0 h 273"/>
                <a:gd name="T4" fmla="*/ 0 w 303"/>
                <a:gd name="T5" fmla="*/ 273 h 273"/>
                <a:gd name="T6" fmla="*/ 303 w 303"/>
                <a:gd name="T7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3" h="273">
                  <a:moveTo>
                    <a:pt x="303" y="273"/>
                  </a:moveTo>
                  <a:lnTo>
                    <a:pt x="153" y="0"/>
                  </a:lnTo>
                  <a:lnTo>
                    <a:pt x="0" y="273"/>
                  </a:lnTo>
                  <a:lnTo>
                    <a:pt x="303" y="27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33243E47-C4E4-E8B4-84A8-6561C6C331C9}"/>
                </a:ext>
              </a:extLst>
            </p:cNvPr>
            <p:cNvSpPr>
              <a:spLocks/>
            </p:cNvSpPr>
            <p:nvPr/>
          </p:nvSpPr>
          <p:spPr bwMode="auto">
            <a:xfrm rot="20937520">
              <a:off x="3401754" y="3300760"/>
              <a:ext cx="488950" cy="461963"/>
            </a:xfrm>
            <a:custGeom>
              <a:avLst/>
              <a:gdLst>
                <a:gd name="T0" fmla="*/ 308 w 308"/>
                <a:gd name="T1" fmla="*/ 0 h 291"/>
                <a:gd name="T2" fmla="*/ 0 w 308"/>
                <a:gd name="T3" fmla="*/ 61 h 291"/>
                <a:gd name="T4" fmla="*/ 214 w 308"/>
                <a:gd name="T5" fmla="*/ 291 h 291"/>
                <a:gd name="T6" fmla="*/ 308 w 308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8" h="291">
                  <a:moveTo>
                    <a:pt x="308" y="0"/>
                  </a:moveTo>
                  <a:lnTo>
                    <a:pt x="0" y="61"/>
                  </a:lnTo>
                  <a:lnTo>
                    <a:pt x="214" y="291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03A1FED5-B29B-76E2-56FC-2C3604C0183B}"/>
                </a:ext>
              </a:extLst>
            </p:cNvPr>
            <p:cNvSpPr>
              <a:spLocks/>
            </p:cNvSpPr>
            <p:nvPr/>
          </p:nvSpPr>
          <p:spPr bwMode="auto">
            <a:xfrm rot="1998157">
              <a:off x="3923076" y="4992905"/>
              <a:ext cx="450850" cy="496888"/>
            </a:xfrm>
            <a:custGeom>
              <a:avLst/>
              <a:gdLst>
                <a:gd name="T0" fmla="*/ 37 w 284"/>
                <a:gd name="T1" fmla="*/ 0 h 313"/>
                <a:gd name="T2" fmla="*/ 0 w 284"/>
                <a:gd name="T3" fmla="*/ 313 h 313"/>
                <a:gd name="T4" fmla="*/ 284 w 284"/>
                <a:gd name="T5" fmla="*/ 180 h 313"/>
                <a:gd name="T6" fmla="*/ 37 w 284"/>
                <a:gd name="T7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4" h="313">
                  <a:moveTo>
                    <a:pt x="37" y="0"/>
                  </a:moveTo>
                  <a:lnTo>
                    <a:pt x="0" y="313"/>
                  </a:lnTo>
                  <a:lnTo>
                    <a:pt x="284" y="18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758B6563-8042-AD2C-A3EC-6618C8F42CA9}"/>
                </a:ext>
              </a:extLst>
            </p:cNvPr>
            <p:cNvSpPr>
              <a:spLocks/>
            </p:cNvSpPr>
            <p:nvPr/>
          </p:nvSpPr>
          <p:spPr bwMode="auto">
            <a:xfrm rot="19354222">
              <a:off x="7232651" y="4988968"/>
              <a:ext cx="450850" cy="496888"/>
            </a:xfrm>
            <a:custGeom>
              <a:avLst/>
              <a:gdLst>
                <a:gd name="T0" fmla="*/ 0 w 284"/>
                <a:gd name="T1" fmla="*/ 180 h 313"/>
                <a:gd name="T2" fmla="*/ 284 w 284"/>
                <a:gd name="T3" fmla="*/ 313 h 313"/>
                <a:gd name="T4" fmla="*/ 247 w 284"/>
                <a:gd name="T5" fmla="*/ 0 h 313"/>
                <a:gd name="T6" fmla="*/ 0 w 284"/>
                <a:gd name="T7" fmla="*/ 18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4" h="313">
                  <a:moveTo>
                    <a:pt x="0" y="180"/>
                  </a:moveTo>
                  <a:lnTo>
                    <a:pt x="284" y="313"/>
                  </a:lnTo>
                  <a:lnTo>
                    <a:pt x="247" y="0"/>
                  </a:lnTo>
                  <a:lnTo>
                    <a:pt x="0" y="18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6F6748A4-2640-DFCF-4BB0-CB8C640A8FA7}"/>
                </a:ext>
              </a:extLst>
            </p:cNvPr>
            <p:cNvSpPr>
              <a:spLocks/>
            </p:cNvSpPr>
            <p:nvPr/>
          </p:nvSpPr>
          <p:spPr bwMode="auto">
            <a:xfrm rot="21009667">
              <a:off x="7732713" y="3122613"/>
              <a:ext cx="488950" cy="461963"/>
            </a:xfrm>
            <a:custGeom>
              <a:avLst/>
              <a:gdLst>
                <a:gd name="T0" fmla="*/ 94 w 308"/>
                <a:gd name="T1" fmla="*/ 291 h 291"/>
                <a:gd name="T2" fmla="*/ 308 w 308"/>
                <a:gd name="T3" fmla="*/ 62 h 291"/>
                <a:gd name="T4" fmla="*/ 0 w 308"/>
                <a:gd name="T5" fmla="*/ 0 h 291"/>
                <a:gd name="T6" fmla="*/ 94 w 308"/>
                <a:gd name="T7" fmla="*/ 29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8" h="291">
                  <a:moveTo>
                    <a:pt x="94" y="291"/>
                  </a:moveTo>
                  <a:lnTo>
                    <a:pt x="308" y="62"/>
                  </a:lnTo>
                  <a:lnTo>
                    <a:pt x="0" y="0"/>
                  </a:lnTo>
                  <a:lnTo>
                    <a:pt x="94" y="29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fr-FR" dirty="0"/>
            </a:p>
          </p:txBody>
        </p:sp>
        <p:sp>
          <p:nvSpPr>
            <p:cNvPr id="19" name="ZoneTexte 96">
              <a:extLst>
                <a:ext uri="{FF2B5EF4-FFF2-40B4-BE49-F238E27FC236}">
                  <a16:creationId xmlns:a16="http://schemas.microsoft.com/office/drawing/2014/main" id="{F6286B79-65D1-D498-8FA0-229CEE737B6E}"/>
                </a:ext>
              </a:extLst>
            </p:cNvPr>
            <p:cNvSpPr txBox="1"/>
            <p:nvPr/>
          </p:nvSpPr>
          <p:spPr>
            <a:xfrm>
              <a:off x="8221663" y="2911509"/>
              <a:ext cx="2548119" cy="11949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05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nimation de réseaux</a:t>
              </a:r>
              <a:endParaRPr lang="fr-FR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r>
                <a:rPr lang="fr-FR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ermettre à la collectivité d'animer les acteurs économiques de la Région</a:t>
              </a:r>
            </a:p>
            <a:p>
              <a:r>
                <a:rPr lang="fr-FR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poser un parcours d’accompagnement structuré</a:t>
              </a:r>
            </a:p>
          </p:txBody>
        </p:sp>
        <p:sp>
          <p:nvSpPr>
            <p:cNvPr id="20" name="ZoneTexte 97">
              <a:extLst>
                <a:ext uri="{FF2B5EF4-FFF2-40B4-BE49-F238E27FC236}">
                  <a16:creationId xmlns:a16="http://schemas.microsoft.com/office/drawing/2014/main" id="{80D1AE85-CD57-2F9A-2578-AFBDBCB0E443}"/>
                </a:ext>
              </a:extLst>
            </p:cNvPr>
            <p:cNvSpPr txBox="1"/>
            <p:nvPr/>
          </p:nvSpPr>
          <p:spPr>
            <a:xfrm>
              <a:off x="7078536" y="1374717"/>
              <a:ext cx="3343883" cy="11949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050" b="1" dirty="0">
                  <a:solidFill>
                    <a:schemeClr val="tx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éveloppement économique</a:t>
              </a:r>
              <a:endParaRPr lang="fr-FR" sz="105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r>
                <a:rPr lang="it-IT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outenir le développement économique de la Région</a:t>
              </a:r>
            </a:p>
            <a:p>
              <a:r>
                <a:rPr lang="it-IT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Être au service de la politique régionale, rendre attractif la Région</a:t>
              </a:r>
            </a:p>
            <a:p>
              <a:r>
                <a:rPr lang="it-IT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ervices en ligne dédiés aux entrepreneurs</a:t>
              </a:r>
              <a:endParaRPr lang="fr-FR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1" name="ZoneTexte 98">
              <a:extLst>
                <a:ext uri="{FF2B5EF4-FFF2-40B4-BE49-F238E27FC236}">
                  <a16:creationId xmlns:a16="http://schemas.microsoft.com/office/drawing/2014/main" id="{32026E40-B57D-9B25-8611-1F3191AE5FFE}"/>
                </a:ext>
              </a:extLst>
            </p:cNvPr>
            <p:cNvSpPr txBox="1"/>
            <p:nvPr/>
          </p:nvSpPr>
          <p:spPr>
            <a:xfrm>
              <a:off x="7783664" y="5158302"/>
              <a:ext cx="2197691" cy="8312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050" b="1" dirty="0">
                  <a:solidFill>
                    <a:schemeClr val="accent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fficacité Opérationnelle entre la Région et AD’OCC</a:t>
              </a:r>
              <a:endParaRPr lang="fr-FR" sz="1050" dirty="0">
                <a:solidFill>
                  <a:schemeClr val="accent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r>
                <a:rPr lang="it-IT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ouvoir mesurer la performance interne</a:t>
              </a:r>
              <a:endParaRPr lang="fr-FR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2" name="ZoneTexte 99">
              <a:extLst>
                <a:ext uri="{FF2B5EF4-FFF2-40B4-BE49-F238E27FC236}">
                  <a16:creationId xmlns:a16="http://schemas.microsoft.com/office/drawing/2014/main" id="{E695CA35-0BE1-73CF-8D32-8F19ADBED89D}"/>
                </a:ext>
              </a:extLst>
            </p:cNvPr>
            <p:cNvSpPr txBox="1"/>
            <p:nvPr/>
          </p:nvSpPr>
          <p:spPr>
            <a:xfrm>
              <a:off x="681232" y="3133882"/>
              <a:ext cx="2663167" cy="1376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fr-FR" sz="1050" b="1" dirty="0">
                  <a:solidFill>
                    <a:schemeClr val="accent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ouveraineté</a:t>
              </a:r>
              <a:r>
                <a:rPr lang="it-IT" sz="1050" b="1" dirty="0">
                  <a:solidFill>
                    <a:schemeClr val="accent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à l’échelle de la Région</a:t>
              </a:r>
              <a:endParaRPr lang="fr-FR" sz="1050" b="1" dirty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r"/>
              <a:r>
                <a:rPr lang="fr-FR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aîtrise de l’ensemble des technologies</a:t>
              </a:r>
            </a:p>
            <a:p>
              <a:pPr algn="r"/>
              <a:r>
                <a:rPr lang="fr-FR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Gestion de la connaissance des logs, meilleure exploitation, suivi de l'audience et de l'usage</a:t>
              </a:r>
            </a:p>
          </p:txBody>
        </p:sp>
        <p:sp>
          <p:nvSpPr>
            <p:cNvPr id="23" name="ZoneTexte 100">
              <a:extLst>
                <a:ext uri="{FF2B5EF4-FFF2-40B4-BE49-F238E27FC236}">
                  <a16:creationId xmlns:a16="http://schemas.microsoft.com/office/drawing/2014/main" id="{8DA26DCB-D1A0-89E8-05DA-DFA8C57686E2}"/>
                </a:ext>
              </a:extLst>
            </p:cNvPr>
            <p:cNvSpPr txBox="1"/>
            <p:nvPr/>
          </p:nvSpPr>
          <p:spPr>
            <a:xfrm>
              <a:off x="2295809" y="5150832"/>
              <a:ext cx="1481779" cy="8312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fr-FR" sz="1050" b="1" dirty="0">
                  <a:solidFill>
                    <a:schemeClr val="accent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ision SI</a:t>
              </a:r>
              <a:endParaRPr lang="fr-FR" sz="1050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r"/>
              <a:r>
                <a:rPr lang="it-IT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Urbanisation</a:t>
              </a:r>
            </a:p>
            <a:p>
              <a:pPr algn="r"/>
              <a:r>
                <a:rPr lang="it-IT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mployabilité</a:t>
              </a:r>
            </a:p>
            <a:p>
              <a:pPr algn="r"/>
              <a:r>
                <a:rPr lang="it-IT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andardisation</a:t>
              </a:r>
              <a:endParaRPr lang="fr-FR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4" name="ZoneTexte 102">
              <a:extLst>
                <a:ext uri="{FF2B5EF4-FFF2-40B4-BE49-F238E27FC236}">
                  <a16:creationId xmlns:a16="http://schemas.microsoft.com/office/drawing/2014/main" id="{297B1A84-2E0D-EED2-385A-101862051581}"/>
                </a:ext>
              </a:extLst>
            </p:cNvPr>
            <p:cNvSpPr txBox="1"/>
            <p:nvPr/>
          </p:nvSpPr>
          <p:spPr>
            <a:xfrm>
              <a:off x="4969207" y="3665390"/>
              <a:ext cx="170375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fr-FR" sz="10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cosystème Métier, applicatif et technique visant à répondre aux besoins des entreprises</a:t>
              </a:r>
            </a:p>
          </p:txBody>
        </p:sp>
        <p:sp>
          <p:nvSpPr>
            <p:cNvPr id="25" name="ZoneTexte 103">
              <a:extLst>
                <a:ext uri="{FF2B5EF4-FFF2-40B4-BE49-F238E27FC236}">
                  <a16:creationId xmlns:a16="http://schemas.microsoft.com/office/drawing/2014/main" id="{C573FB34-5D9F-2DC1-E9F5-4154DF341BC3}"/>
                </a:ext>
              </a:extLst>
            </p:cNvPr>
            <p:cNvSpPr txBox="1"/>
            <p:nvPr/>
          </p:nvSpPr>
          <p:spPr>
            <a:xfrm>
              <a:off x="4891339" y="3463515"/>
              <a:ext cx="185949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fr-FR" sz="105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lateforme Entreprise</a:t>
              </a:r>
              <a:endParaRPr lang="fr-FR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95012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EC56B20-1A92-ABDA-B2ED-B8ABFE8915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473" y="697702"/>
            <a:ext cx="7561065" cy="858490"/>
          </a:xfrm>
        </p:spPr>
        <p:txBody>
          <a:bodyPr/>
          <a:lstStyle/>
          <a:p>
            <a:r>
              <a:rPr lang="fr-FR" dirty="0"/>
              <a:t>Ecosystème de la plateforme Entrepris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47152CE-4E16-FC44-FC7C-63F95C610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950" y="1982788"/>
            <a:ext cx="9059197" cy="4237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6157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8B8ECE7-63B8-5A4D-31E3-831464F90B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473" y="697702"/>
            <a:ext cx="7561065" cy="436516"/>
          </a:xfrm>
        </p:spPr>
        <p:txBody>
          <a:bodyPr/>
          <a:lstStyle/>
          <a:p>
            <a:r>
              <a:rPr lang="fr-FR" dirty="0"/>
              <a:t>La plateforme Entrepris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7662D95-7A74-196C-A4D5-002C149238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49" y="1448101"/>
            <a:ext cx="8987628" cy="4712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3272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D4731B-4E20-7BD4-3C95-C75C16E5A45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Les parcours, acteurs et métriqu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BD0EF65-1336-5F5F-317C-E3B3ECE712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5568"/>
            <a:ext cx="9906000" cy="445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3929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F90DC72-FBF7-943A-B157-DECBC7282C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Les parcours, acteurs et métrique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0E28E38C-5D8A-098D-E18C-BD8B13CF22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050" y="1261219"/>
            <a:ext cx="9210477" cy="4733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0852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A4510B4-02C5-DA83-FFC6-837272EDF5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Les parcours, acteurs et métrique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F2C0FD6-6EA7-F90B-05DE-ACB983AE80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700" y="1479413"/>
            <a:ext cx="8680450" cy="4774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4326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AC280A3-C6E9-F1A8-D938-237966CC52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Les application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91865C-7650-8EC9-36C8-8B7F8EDB33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28700" y="1151274"/>
            <a:ext cx="8214921" cy="5722836"/>
          </a:xfrm>
        </p:spPr>
        <p:txBody>
          <a:bodyPr/>
          <a:lstStyle/>
          <a:p>
            <a:pPr marL="0" indent="0">
              <a:spcAft>
                <a:spcPts val="1500"/>
              </a:spcAft>
              <a:buNone/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a 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lateforme Entrepris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est un système composé de plusieurs applications :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342900" lvl="0" indent="-342900"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Mon Compte Entrepris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(solution de gestion des identités) et l’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API Entrepris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 dont les enjeux sont la simplification du parcours usager avec un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mpte uniqu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 une seule connexion pour tous les services, et la gouvernance des données d’identité des entreprises et porteurs de projet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342900" lvl="0" indent="-342900"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e Hub Entreprendre Occitanie :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e portail d’information sur les subventions régionales, de structuration de l’accompagnement et de l’animation du réseau des développeurs économiques d’Occitanie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342900" lvl="0" indent="-342900"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Mes Aides en Ligne :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e dépôt de demandes d’aides, de suivi des instructions et paiements.</a:t>
            </a:r>
          </a:p>
          <a:p>
            <a:pPr marL="342900" lvl="0" indent="-342900"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e CRM OPERA : 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’organisation du travail d’accompagnement en vision transversale (prospection, communication, suivi de dossiers d’accompagnement, suivi des réalisations)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342900" lvl="0" indent="-342900"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’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Univers Entreprises :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’exploitation des données issues du SI Entreprise (production et visualisation d’indicateurs d’activité en lien avec la dimension financière et budgétaire)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17F31FA1-E747-698B-BBCC-476ACC4036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354" y="2046624"/>
            <a:ext cx="828796" cy="441721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B432E48-2FAF-AB42-516A-BDFC9A4E82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86" y="3444025"/>
            <a:ext cx="1130486" cy="29877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473FCD6D-0512-DE54-9457-2C114B3A7F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718" y="4337266"/>
            <a:ext cx="789732" cy="51238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AAF5900-C247-0350-F453-622B73D4A2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852" y="5122481"/>
            <a:ext cx="886298" cy="32164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4B496C10-887B-8F35-EFA3-FB3379D691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3718" y="6107444"/>
            <a:ext cx="886298" cy="48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6145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2DFAC05-9598-85D5-9CEC-C56F718AA7C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Hub Entreprend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4E58D8D-33B3-CF12-4330-DE01A7B7C4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2694324"/>
            <a:ext cx="8694148" cy="2767539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La Région Occitanie a créé une </a:t>
            </a:r>
            <a:r>
              <a:rPr lang="fr-FR" b="1" dirty="0"/>
              <a:t>plateforme de services en ligne pour accompagner les créateurs, les repreneurs et les chefs d’entreprises.</a:t>
            </a:r>
          </a:p>
          <a:p>
            <a:pPr marL="0" indent="0">
              <a:buNone/>
            </a:pPr>
            <a:br>
              <a:rPr lang="fr-FR" b="1" dirty="0"/>
            </a:br>
            <a:br>
              <a:rPr lang="fr-FR" b="1" dirty="0"/>
            </a:br>
            <a:r>
              <a:rPr lang="fr-FR" dirty="0"/>
              <a:t>Parcours d’accompagnement qui couvre tous leurs projets : </a:t>
            </a:r>
            <a:r>
              <a:rPr lang="fr-FR" i="1" dirty="0"/>
              <a:t>création ou reprise d'entreprises, implantation, croissance, innovation, internationalisation, transmission, etc.</a:t>
            </a:r>
          </a:p>
          <a:p>
            <a:pPr marL="0" indent="0">
              <a:buNone/>
            </a:pPr>
            <a:br>
              <a:rPr lang="fr-FR" i="1" dirty="0"/>
            </a:br>
            <a:br>
              <a:rPr lang="fr-FR" i="1" dirty="0"/>
            </a:br>
            <a:r>
              <a:rPr lang="fr-FR" dirty="0"/>
              <a:t>Objectif prioritaire : </a:t>
            </a:r>
            <a:r>
              <a:rPr lang="fr-FR" b="1" dirty="0"/>
              <a:t>simplifier les démarches des entrepreneurs </a:t>
            </a:r>
            <a:r>
              <a:rPr lang="fr-FR" dirty="0"/>
              <a:t>qui souhaitent </a:t>
            </a:r>
            <a:r>
              <a:rPr lang="fr-FR" b="1" dirty="0"/>
              <a:t>se développer ou s'implanter en Région Occitanie</a:t>
            </a:r>
            <a:r>
              <a:rPr lang="fr-FR" dirty="0"/>
              <a:t>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44FE61C-7883-D032-AEDF-EAF6AD6716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6807" y="1540783"/>
            <a:ext cx="2826395" cy="746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8301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302F9E-D745-4B7A-467F-53BC6D9FF7D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ahier des charg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80016C2-1C3F-39A0-4B2F-BA6730EF38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250950"/>
            <a:ext cx="8694148" cy="5577859"/>
          </a:xfrm>
        </p:spPr>
        <p:txBody>
          <a:bodyPr/>
          <a:lstStyle/>
          <a:p>
            <a:pPr>
              <a:spcAft>
                <a:spcPts val="1500"/>
              </a:spcAft>
            </a:pPr>
            <a:r>
              <a:rPr lang="fr-FR" sz="1800" b="1" dirty="0">
                <a:solidFill>
                  <a:srgbClr val="F0464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Jira PR1 - [BO HUB] Modification url associée au clic-bouton « contacter un expert de proximité »</a:t>
            </a:r>
          </a:p>
          <a:p>
            <a:pPr marL="0" indent="0">
              <a:spcAft>
                <a:spcPts val="1500"/>
              </a:spcAft>
              <a:buNone/>
            </a:pPr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mpréhension du besoin 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: Front Hub Entreprendre, il est demandé de faire une mise à jour de l’URL associée au lien « Contacter un expert de proximité ».</a:t>
            </a:r>
            <a:endParaRPr lang="fr-FR" sz="1800" dirty="0">
              <a:solidFill>
                <a:srgbClr val="222C4A"/>
              </a:solidFill>
              <a:effectLst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>
              <a:spcAft>
                <a:spcPts val="1500"/>
              </a:spcAft>
            </a:pPr>
            <a:r>
              <a:rPr lang="fr-FR" sz="1800" b="1" dirty="0">
                <a:solidFill>
                  <a:srgbClr val="F0464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Jira PR5 - [BO HUB] Extraction des usagers du Hub</a:t>
            </a: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spcAft>
                <a:spcPts val="1500"/>
              </a:spcAft>
              <a:buNone/>
            </a:pPr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mpréhension du besoin 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:</a:t>
            </a:r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Front Back-Office, il est demandé d’ajouter une nouvelle carte (non cliquable) « Usagers » avec un bouton « extraire » permettant d’extraire en csv la liste des usagers du hub.</a:t>
            </a:r>
            <a:endParaRPr lang="fr-FR" sz="1800" dirty="0">
              <a:solidFill>
                <a:srgbClr val="222C4A"/>
              </a:solidFill>
              <a:effectLst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>
              <a:spcAft>
                <a:spcPts val="1500"/>
              </a:spcAft>
            </a:pPr>
            <a:r>
              <a:rPr lang="fr-FR" sz="1800" b="1" dirty="0">
                <a:solidFill>
                  <a:srgbClr val="F0464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Jira PR6 - [BO HUB] ajout des porteurs de projets dans la fiche référents</a:t>
            </a: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spcAft>
                <a:spcPts val="1500"/>
              </a:spcAft>
              <a:buNone/>
            </a:pPr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mpréhension du besoin 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:</a:t>
            </a:r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Front Back-Office , il est demandé de modifier le tableau portefeuille de la fiche interlocuteur référent, afin d’y faire apparaitre les « porteurs de projets » suivis par l’interlocuteur de la fiche concernée. L’ajout d’une fonction « affecter à un autre référent » sur la fiche interlocuteur doit aussi permettre de changer l’interlocuteur référent d’un porteur de projet.</a:t>
            </a:r>
          </a:p>
        </p:txBody>
      </p:sp>
    </p:spTree>
    <p:extLst>
      <p:ext uri="{BB962C8B-B14F-4D97-AF65-F5344CB8AC3E}">
        <p14:creationId xmlns:p14="http://schemas.microsoft.com/office/powerpoint/2010/main" val="32518609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5B50968-FBC9-C625-42D7-F8C8C764725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ahier des charg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6C7143D-00F4-B282-DB83-4A535EA868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989474"/>
            <a:ext cx="8694148" cy="3441185"/>
          </a:xfrm>
        </p:spPr>
        <p:txBody>
          <a:bodyPr/>
          <a:lstStyle/>
          <a:p>
            <a:pPr>
              <a:spcAft>
                <a:spcPts val="1500"/>
              </a:spcAft>
            </a:pPr>
            <a:r>
              <a:rPr lang="fr-FR" sz="1800" b="1" dirty="0">
                <a:solidFill>
                  <a:srgbClr val="F0464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Jira PR7 - [BO HUB] Fonctionnalité d'extraction des dispositifs</a:t>
            </a: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spcAft>
                <a:spcPts val="1500"/>
              </a:spcAft>
              <a:buNone/>
            </a:pPr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mpréhension du besoin 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: Front Back-Office, il est demandé dans le menu « Dispositifs » d’ajouter un </a:t>
            </a:r>
            <a:r>
              <a:rPr lang="fr-FR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icto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cliquable permettant l’extraction de l’ensemble des dispositifs en format CSV.</a:t>
            </a:r>
            <a:endParaRPr lang="fr-FR" sz="1800" dirty="0">
              <a:solidFill>
                <a:srgbClr val="000000"/>
              </a:solidFill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>
              <a:spcAft>
                <a:spcPts val="1500"/>
              </a:spcAft>
            </a:pPr>
            <a:r>
              <a:rPr lang="fr-FR" sz="1800" b="1" dirty="0">
                <a:solidFill>
                  <a:srgbClr val="F04641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Jira PR8 - [BO HUB] Flux BPI</a:t>
            </a: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spcAft>
                <a:spcPts val="1500"/>
              </a:spcAft>
              <a:buNone/>
            </a:pPr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mpréhension du besoin 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: Front agent Hub Entreprendre, il est demandé de faire une mise à jour de l’URL du flux BPI des dossiers projecteurs.</a:t>
            </a:r>
            <a:endParaRPr lang="fr-FR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4882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842586D-DCBB-FC4C-E57F-DF8AABE380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A387EC7-8F08-A7A8-0CF0-8ACD1DD6A0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15033" y="2583016"/>
            <a:ext cx="6843118" cy="3481644"/>
          </a:xfrm>
        </p:spPr>
        <p:txBody>
          <a:bodyPr/>
          <a:lstStyle/>
          <a:p>
            <a:pPr marL="0" indent="0">
              <a:buNone/>
            </a:pPr>
            <a:r>
              <a:rPr lang="fr-FR" sz="1600" dirty="0"/>
              <a:t>1  	Présentation de l’entreprise Inetum</a:t>
            </a:r>
          </a:p>
          <a:p>
            <a:pPr marL="0" indent="0">
              <a:buNone/>
            </a:pPr>
            <a:r>
              <a:rPr lang="fr-FR" sz="1600" dirty="0"/>
              <a:t>2  	Présentation du Projet</a:t>
            </a:r>
          </a:p>
          <a:p>
            <a:pPr marL="0" indent="0">
              <a:buNone/>
            </a:pPr>
            <a:r>
              <a:rPr lang="fr-FR" sz="1600" dirty="0"/>
              <a:t>3  	Missions annexes</a:t>
            </a:r>
          </a:p>
          <a:p>
            <a:pPr marL="0" indent="0">
              <a:buNone/>
            </a:pPr>
            <a:r>
              <a:rPr lang="fr-FR" sz="1600" dirty="0"/>
              <a:t>4  	Conception fonctionnelle</a:t>
            </a:r>
          </a:p>
          <a:p>
            <a:pPr marL="0" indent="0">
              <a:buNone/>
            </a:pPr>
            <a:r>
              <a:rPr lang="fr-FR" sz="1600" dirty="0"/>
              <a:t>5  	Conception technique</a:t>
            </a:r>
          </a:p>
          <a:p>
            <a:pPr marL="0" indent="0">
              <a:buNone/>
            </a:pPr>
            <a:r>
              <a:rPr lang="fr-FR" sz="1600" dirty="0"/>
              <a:t>6  	Implémentation</a:t>
            </a:r>
          </a:p>
          <a:p>
            <a:pPr marL="0" indent="0">
              <a:buNone/>
            </a:pPr>
            <a:r>
              <a:rPr lang="fr-FR" sz="1600" dirty="0"/>
              <a:t>7  	Sécurité</a:t>
            </a:r>
          </a:p>
          <a:p>
            <a:pPr marL="0" indent="0">
              <a:buNone/>
            </a:pPr>
            <a:r>
              <a:rPr lang="fr-FR" sz="1600" dirty="0"/>
              <a:t>8  	Déploiement</a:t>
            </a:r>
          </a:p>
          <a:p>
            <a:pPr marL="0" indent="0">
              <a:buNone/>
            </a:pPr>
            <a:r>
              <a:rPr lang="fr-FR" sz="1600" dirty="0"/>
              <a:t>9   	Tests</a:t>
            </a:r>
          </a:p>
          <a:p>
            <a:pPr marL="0" indent="0">
              <a:buNone/>
            </a:pPr>
            <a:r>
              <a:rPr lang="fr-FR" sz="1600" dirty="0"/>
              <a:t>10  	Bilan du projet</a:t>
            </a:r>
          </a:p>
          <a:p>
            <a:endParaRPr lang="fr-FR" sz="1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879ED6C-FF2B-E008-D8F9-B284A7257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22/08/2022  |  ©2020 Inetum  | Classification: confidential document PRESENTATION PROJET HUB ENTREPRENDRE</a:t>
            </a:r>
            <a:endParaRPr lang="en-US" sz="609" dirty="0"/>
          </a:p>
        </p:txBody>
      </p:sp>
    </p:spTree>
    <p:extLst>
      <p:ext uri="{BB962C8B-B14F-4D97-AF65-F5344CB8AC3E}">
        <p14:creationId xmlns:p14="http://schemas.microsoft.com/office/powerpoint/2010/main" val="26547701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B34642B-D102-3764-9272-FD6192B64A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Organisation : Squad 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250037D-8D19-2799-1ABF-C1C34BA28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589424"/>
            <a:ext cx="8694148" cy="4233197"/>
          </a:xfrm>
        </p:spPr>
        <p:txBody>
          <a:bodyPr/>
          <a:lstStyle/>
          <a:p>
            <a:pPr marL="0" indent="0">
              <a:spcAft>
                <a:spcPts val="1500"/>
              </a:spcAft>
              <a:buNone/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Bascule vers méthodes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agiles SCRUM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0" indent="0">
              <a:spcAft>
                <a:spcPts val="1500"/>
              </a:spcAft>
              <a:buNone/>
            </a:pPr>
            <a:b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Mêlée quotidienne (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daily-scrum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) : point de coordination rapide sur les tâches en cours et sur les difficultés rencontrées. 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0" indent="0">
              <a:spcAft>
                <a:spcPts val="1500"/>
              </a:spcAft>
              <a:buNone/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3 questions suggérées par Scrum pour structurer la réunion :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– Qu’ai-je fait hier qui rapproche le produit de l’objectif du sprint ?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– Que vais-je faire aujourd’hui qui rapproche le produit de l’objectif du sprint ?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– Ai-je une ou plusieurs difficultés qui m’empêchent d’avancer ?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529335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7C0479D-885E-B836-B743-9E61DAC776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473" y="697702"/>
            <a:ext cx="8645327" cy="436516"/>
          </a:xfrm>
        </p:spPr>
        <p:txBody>
          <a:bodyPr/>
          <a:lstStyle/>
          <a:p>
            <a:r>
              <a:rPr lang="fr-FR" dirty="0"/>
              <a:t>Organisation : projet Hub-Entreprendre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AE6202D-EC55-3F30-A3E4-F561815EFC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609737"/>
            <a:ext cx="8694148" cy="1515017"/>
          </a:xfrm>
        </p:spPr>
        <p:txBody>
          <a:bodyPr/>
          <a:lstStyle/>
          <a:p>
            <a:pPr marL="0" indent="0">
              <a:buNone/>
            </a:pPr>
            <a:r>
              <a:rPr lang="fr-FR" sz="1800" b="1" dirty="0">
                <a:latin typeface="Calibri" panose="020F0502020204030204" pitchFamily="34" charset="0"/>
                <a:ea typeface="Verdana" panose="020B0604030504040204" pitchFamily="34" charset="0"/>
              </a:rPr>
              <a:t>S</a:t>
            </a:r>
            <a:r>
              <a:rPr lang="fr-FR" sz="1800" b="1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ession de chiffrage </a:t>
            </a: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: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estimer le nombre de jours nécessaires au développement des évolutions.</a:t>
            </a:r>
          </a:p>
          <a:p>
            <a:pPr marL="0" indent="0">
              <a:buNone/>
            </a:pPr>
            <a:endParaRPr lang="fr-FR" sz="1800" dirty="0">
              <a:solidFill>
                <a:srgbClr val="222C4A"/>
              </a:solidFill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Exemple :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C28E717-5229-4F09-CE94-2657D918FA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96" y="3289124"/>
            <a:ext cx="8611802" cy="2514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9084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B1C6093-1FF7-DF29-64C9-073D26CC45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473" y="697702"/>
            <a:ext cx="7788077" cy="858490"/>
          </a:xfrm>
        </p:spPr>
        <p:txBody>
          <a:bodyPr/>
          <a:lstStyle/>
          <a:p>
            <a:r>
              <a:rPr lang="fr-FR" dirty="0"/>
              <a:t>Organisation : projet Hub-Entreprendre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2430F18-D980-FCE0-73F8-724D79B412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633874"/>
            <a:ext cx="8694148" cy="1350357"/>
          </a:xfrm>
        </p:spPr>
        <p:txBody>
          <a:bodyPr/>
          <a:lstStyle/>
          <a:p>
            <a:pPr marL="0" indent="0">
              <a:buNone/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’organisation du projet a initialement été proposée en suivant la méthode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agile/itérative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dans le but d’appréhender les besoins des utilisateurs et du client et de permettre à ces derniers de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tester le produit au fur et à mesur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 en situation réelle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BB9FDD0-5028-6F4F-D96F-9E90F48DDF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2455" y="2984231"/>
            <a:ext cx="6181090" cy="33904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53129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538078E-904E-F9FF-35E8-7527EDC27E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473" y="697702"/>
            <a:ext cx="7902377" cy="858490"/>
          </a:xfrm>
        </p:spPr>
        <p:txBody>
          <a:bodyPr/>
          <a:lstStyle/>
          <a:p>
            <a:r>
              <a:rPr lang="fr-FR" dirty="0"/>
              <a:t>Organisation : projet Hub-Entreprendre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8A08BD3-CFF1-AA6D-230E-70B2767074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468774"/>
            <a:ext cx="8694148" cy="700435"/>
          </a:xfrm>
        </p:spPr>
        <p:txBody>
          <a:bodyPr/>
          <a:lstStyle/>
          <a:p>
            <a:pPr marL="0" indent="0">
              <a:buNone/>
            </a:pPr>
            <a:r>
              <a:rPr lang="fr-FR" sz="1800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</a:rPr>
              <a:t>D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emande une plus forte implication du client dans le processus de développement accompagné + contraintes techniques et humaines 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sym typeface="Wingdings" panose="05000000000000000000" pitchFamily="2" charset="2"/>
              </a:rPr>
              <a:t>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 Gestion de projet en </a:t>
            </a:r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cycle en V</a:t>
            </a:r>
            <a:endParaRPr lang="fr-FR" b="1" dirty="0"/>
          </a:p>
        </p:txBody>
      </p:sp>
      <p:pic>
        <p:nvPicPr>
          <p:cNvPr id="4" name="Image 3" descr="Cycle V min">
            <a:extLst>
              <a:ext uri="{FF2B5EF4-FFF2-40B4-BE49-F238E27FC236}">
                <a16:creationId xmlns:a16="http://schemas.microsoft.com/office/drawing/2014/main" id="{981EEB54-AFA5-BF7A-40DE-599D94E1E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14" y="2327264"/>
            <a:ext cx="9145971" cy="39448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934297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1F1445-40B9-9515-3747-72DEAF6FA2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1951" y="697702"/>
            <a:ext cx="7748588" cy="597698"/>
          </a:xfrm>
        </p:spPr>
        <p:txBody>
          <a:bodyPr/>
          <a:lstStyle/>
          <a:p>
            <a:r>
              <a:rPr lang="fr-FR" dirty="0"/>
              <a:t>Processus de développement et de tes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0F29F1D-C57F-56F2-1BF7-8A0ACB66E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411624"/>
            <a:ext cx="8694148" cy="740959"/>
          </a:xfrm>
        </p:spPr>
        <p:txBody>
          <a:bodyPr/>
          <a:lstStyle/>
          <a:p>
            <a:pPr marL="0" indent="0">
              <a:buNone/>
            </a:pP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3 plateformes Microsoft Azure en ligne possédant chacune un rôle très précis :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15237C4-6DFE-513D-42CD-3B6DE53405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981" y="2152583"/>
            <a:ext cx="6816527" cy="46717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454319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7756EF6-56EC-818F-B9F2-12CE8CABBA9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Gestion des version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21710E-D9E4-B1E2-7085-E94D8A2B9E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4950" y="1552958"/>
            <a:ext cx="9008671" cy="2345501"/>
          </a:xfrm>
        </p:spPr>
        <p:txBody>
          <a:bodyPr/>
          <a:lstStyle/>
          <a:p>
            <a:pPr marL="0" indent="0">
              <a:spcAft>
                <a:spcPts val="1500"/>
              </a:spcAft>
              <a:buNone/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Outil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Git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et la plateforme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GitLab</a:t>
            </a:r>
          </a:p>
          <a:p>
            <a:pPr marL="0" indent="0">
              <a:spcAft>
                <a:spcPts val="1500"/>
              </a:spcAft>
              <a:buNone/>
            </a:pP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A chaque merge un pipeline est lancé déployant la nouvelle version du projet sur la plateforme correspondante :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285750" indent="-285750"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D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éveloppement 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plateforme CI </a:t>
            </a:r>
          </a:p>
          <a:p>
            <a:pPr marL="285750" indent="-285750"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Branche Master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plateforme VAL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C7098EA-AB10-A706-DA37-5E37DC0EBB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3931" y="3930400"/>
            <a:ext cx="5510708" cy="2749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649836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24029D-0D3F-DCA9-2E10-955A16D5D6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473" y="697702"/>
            <a:ext cx="7561065" cy="436516"/>
          </a:xfrm>
        </p:spPr>
        <p:txBody>
          <a:bodyPr/>
          <a:lstStyle/>
          <a:p>
            <a:r>
              <a:rPr lang="fr-FR" dirty="0"/>
              <a:t>Echéances et répartition des tâch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C7331B4-3B4A-7938-ACD2-E574637FC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989474"/>
            <a:ext cx="8694148" cy="1734564"/>
          </a:xfrm>
        </p:spPr>
        <p:txBody>
          <a:bodyPr/>
          <a:lstStyle/>
          <a:p>
            <a:pPr marL="0" indent="0">
              <a:buNone/>
            </a:pPr>
            <a:r>
              <a:rPr lang="fr-FR" b="1" dirty="0"/>
              <a:t>Lancement</a:t>
            </a:r>
            <a:r>
              <a:rPr lang="fr-FR" dirty="0"/>
              <a:t> 11/07/2022</a:t>
            </a:r>
          </a:p>
          <a:p>
            <a:pPr marL="0" indent="0">
              <a:buNone/>
            </a:pPr>
            <a:r>
              <a:rPr lang="fr-FR" b="1" dirty="0"/>
              <a:t>Démonstration auprès du client </a:t>
            </a:r>
            <a:r>
              <a:rPr lang="fr-FR" dirty="0"/>
              <a:t>16/08/2022</a:t>
            </a:r>
          </a:p>
          <a:p>
            <a:pPr marL="0" indent="0">
              <a:buNone/>
            </a:pPr>
            <a:r>
              <a:rPr lang="fr-FR" b="1" dirty="0"/>
              <a:t>Mise en recette </a:t>
            </a:r>
            <a:r>
              <a:rPr lang="fr-FR" dirty="0"/>
              <a:t>19/08/2022</a:t>
            </a:r>
          </a:p>
          <a:p>
            <a:pPr marL="0" indent="0">
              <a:buNone/>
            </a:pPr>
            <a:r>
              <a:rPr lang="fr-FR" b="1" dirty="0"/>
              <a:t>Mise en production </a:t>
            </a:r>
            <a:r>
              <a:rPr lang="fr-FR" dirty="0"/>
              <a:t>29/08/2022</a:t>
            </a:r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C0A8762-B0B2-9F93-96B6-E1A22F201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920" y="4013200"/>
            <a:ext cx="9677521" cy="1974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4233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87C47B3-67E1-4611-B488-1A5FD4288CB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ductions attendu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3ADD68-7983-868B-CEF4-BA7E23680B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989474"/>
            <a:ext cx="8694148" cy="2972724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Initialement :</a:t>
            </a:r>
          </a:p>
          <a:p>
            <a:pPr marL="0" indent="0">
              <a:buNone/>
            </a:pPr>
            <a:br>
              <a:rPr lang="fr-FR" dirty="0"/>
            </a:br>
            <a:r>
              <a:rPr lang="fr-FR" dirty="0"/>
              <a:t>Livraison de la </a:t>
            </a:r>
            <a:r>
              <a:rPr lang="fr-FR" b="1" dirty="0"/>
              <a:t>nouvelle version de l’application contenant les évolutifs demandés </a:t>
            </a:r>
            <a:r>
              <a:rPr lang="fr-FR" dirty="0"/>
              <a:t>avec les </a:t>
            </a:r>
            <a:r>
              <a:rPr lang="fr-FR" b="1" dirty="0"/>
              <a:t>documents techniques </a:t>
            </a:r>
            <a:r>
              <a:rPr lang="fr-FR" dirty="0"/>
              <a:t>associés.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br>
              <a:rPr lang="fr-FR" dirty="0"/>
            </a:br>
            <a:r>
              <a:rPr lang="fr-FR" dirty="0"/>
              <a:t>Evolution de la demande du client + contraintes techniques importantes :</a:t>
            </a:r>
            <a:br>
              <a:rPr lang="fr-FR" dirty="0"/>
            </a:br>
            <a:br>
              <a:rPr lang="fr-FR" dirty="0"/>
            </a:br>
            <a:r>
              <a:rPr lang="fr-FR" dirty="0"/>
              <a:t>Livraison </a:t>
            </a:r>
            <a:r>
              <a:rPr lang="fr-FR" b="1" dirty="0"/>
              <a:t>d’une partie des évolutions </a:t>
            </a:r>
            <a:r>
              <a:rPr lang="fr-FR" dirty="0"/>
              <a:t>et les </a:t>
            </a:r>
            <a:r>
              <a:rPr lang="fr-FR" b="1" dirty="0"/>
              <a:t>documents techniques correspondants</a:t>
            </a:r>
            <a:r>
              <a:rPr lang="fr-F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677765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4F58AB1-7413-A85A-5B3C-2DD796F5141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Environnement technique</a:t>
            </a:r>
          </a:p>
        </p:txBody>
      </p:sp>
      <p:sp>
        <p:nvSpPr>
          <p:cNvPr id="21" name="AutoShape 40" descr="Microsoft Azure est le cloud le plus flexible et le plus puissant">
            <a:extLst>
              <a:ext uri="{FF2B5EF4-FFF2-40B4-BE49-F238E27FC236}">
                <a16:creationId xmlns:a16="http://schemas.microsoft.com/office/drawing/2014/main" id="{233D5A23-85EB-9B82-3333-E04633B8699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21978" y="3560573"/>
            <a:ext cx="278619" cy="278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aphicFrame>
        <p:nvGraphicFramePr>
          <p:cNvPr id="22" name="Diagramme 21">
            <a:extLst>
              <a:ext uri="{FF2B5EF4-FFF2-40B4-BE49-F238E27FC236}">
                <a16:creationId xmlns:a16="http://schemas.microsoft.com/office/drawing/2014/main" id="{32E709FE-FD85-CADA-B196-CEAA13BBA84E}"/>
              </a:ext>
            </a:extLst>
          </p:cNvPr>
          <p:cNvGraphicFramePr/>
          <p:nvPr/>
        </p:nvGraphicFramePr>
        <p:xfrm>
          <a:off x="79078" y="1241646"/>
          <a:ext cx="9144806" cy="51745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3" name="Picture 2" descr="spring-boot-logo - Atomrace">
            <a:extLst>
              <a:ext uri="{FF2B5EF4-FFF2-40B4-BE49-F238E27FC236}">
                <a16:creationId xmlns:a16="http://schemas.microsoft.com/office/drawing/2014/main" id="{E785C0E2-3D86-1784-913F-5D7C2437B2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778" y="1259021"/>
            <a:ext cx="1074881" cy="56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Java Logo - Marques et logos: histoire et signification | PNG">
            <a:extLst>
              <a:ext uri="{FF2B5EF4-FFF2-40B4-BE49-F238E27FC236}">
                <a16:creationId xmlns:a16="http://schemas.microsoft.com/office/drawing/2014/main" id="{3FDFE029-0C4F-81E7-2D2C-C044171C4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390" y="1742375"/>
            <a:ext cx="1074881" cy="607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0">
            <a:extLst>
              <a:ext uri="{FF2B5EF4-FFF2-40B4-BE49-F238E27FC236}">
                <a16:creationId xmlns:a16="http://schemas.microsoft.com/office/drawing/2014/main" id="{885B14B0-70A6-F374-31E8-AC61F864E3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778" y="2495635"/>
            <a:ext cx="1138106" cy="288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e 25">
            <a:extLst>
              <a:ext uri="{FF2B5EF4-FFF2-40B4-BE49-F238E27FC236}">
                <a16:creationId xmlns:a16="http://schemas.microsoft.com/office/drawing/2014/main" id="{EF866A1E-1E34-F127-F1AC-645829A35224}"/>
              </a:ext>
            </a:extLst>
          </p:cNvPr>
          <p:cNvGrpSpPr/>
          <p:nvPr/>
        </p:nvGrpSpPr>
        <p:grpSpPr>
          <a:xfrm>
            <a:off x="7909822" y="4732098"/>
            <a:ext cx="1250837" cy="490860"/>
            <a:chOff x="8301554" y="4101346"/>
            <a:chExt cx="1250837" cy="490860"/>
          </a:xfrm>
        </p:grpSpPr>
        <p:pic>
          <p:nvPicPr>
            <p:cNvPr id="27" name="Picture 38" descr="PostgreSQL — Wikipédia">
              <a:extLst>
                <a:ext uri="{FF2B5EF4-FFF2-40B4-BE49-F238E27FC236}">
                  <a16:creationId xmlns:a16="http://schemas.microsoft.com/office/drawing/2014/main" id="{F35B6D25-65F4-3CF2-9510-B5D53C1B99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01554" y="4101346"/>
              <a:ext cx="475748" cy="4908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46" descr="Microsoft Azure Logo - Marques et logos: histoire et signification | PNG">
              <a:extLst>
                <a:ext uri="{FF2B5EF4-FFF2-40B4-BE49-F238E27FC236}">
                  <a16:creationId xmlns:a16="http://schemas.microsoft.com/office/drawing/2014/main" id="{00D1E984-3562-6AB2-101A-948E380B16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44696" y="4134751"/>
              <a:ext cx="707695" cy="400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9" name="Picture 50">
            <a:extLst>
              <a:ext uri="{FF2B5EF4-FFF2-40B4-BE49-F238E27FC236}">
                <a16:creationId xmlns:a16="http://schemas.microsoft.com/office/drawing/2014/main" id="{FEF6EED1-57A2-6524-951D-80105186DC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5806" y="5377021"/>
            <a:ext cx="1106703" cy="26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0" descr="Case Study: Azure Kubernetes Service | by Gaurav Gupta | Medium">
            <a:extLst>
              <a:ext uri="{FF2B5EF4-FFF2-40B4-BE49-F238E27FC236}">
                <a16:creationId xmlns:a16="http://schemas.microsoft.com/office/drawing/2014/main" id="{AE538280-FBB2-D319-7624-9749BFC1B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0005" y="5868674"/>
            <a:ext cx="1004692" cy="465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Elasticsearch logo [ Download - Logo - icon ] png svg">
            <a:extLst>
              <a:ext uri="{FF2B5EF4-FFF2-40B4-BE49-F238E27FC236}">
                <a16:creationId xmlns:a16="http://schemas.microsoft.com/office/drawing/2014/main" id="{1F27EF6F-6229-EE65-BCF9-B7D9D23D6C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5518" y="2609129"/>
            <a:ext cx="1295400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" descr="Using Hot Module Replacement in Angular 11 - DEV Community">
            <a:extLst>
              <a:ext uri="{FF2B5EF4-FFF2-40B4-BE49-F238E27FC236}">
                <a16:creationId xmlns:a16="http://schemas.microsoft.com/office/drawing/2014/main" id="{93F07026-80F9-5FBF-C09E-97BF531FCC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3505" y="3478261"/>
            <a:ext cx="1104493" cy="621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" descr="Bootstrap (framework) — Wikipédia">
            <a:extLst>
              <a:ext uri="{FF2B5EF4-FFF2-40B4-BE49-F238E27FC236}">
                <a16:creationId xmlns:a16="http://schemas.microsoft.com/office/drawing/2014/main" id="{0757A705-887D-8B51-22B8-0B8EB92A99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1076" y="4169561"/>
            <a:ext cx="562550" cy="448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86635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86FB80-898E-EFAB-EBEA-819D3C8DDDA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ontraintes du proje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D2EE92B-98FF-CB87-E9C0-CA7A11E6B7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2" y="1240174"/>
            <a:ext cx="8759627" cy="5270404"/>
          </a:xfrm>
        </p:spPr>
        <p:txBody>
          <a:bodyPr/>
          <a:lstStyle/>
          <a:p>
            <a:pPr marL="274638" indent="-285750">
              <a:spcAft>
                <a:spcPts val="1500"/>
              </a:spcAft>
            </a:pPr>
            <a:r>
              <a:rPr lang="fr-FR" sz="1800" b="1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S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eul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pour mettre en œuvre, sur un temps limité (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4 semaines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).</a:t>
            </a:r>
          </a:p>
          <a:p>
            <a:pPr marL="274638" indent="-285750"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A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plication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mplex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et sans un interlocuteur fonctionnel qui maitrise le périmètre de l’application. 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274638" indent="-285750"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ériode de réversibilité pendant le transfert des connaissances a été minime :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documentation de conception, d’installation et d’utilisation est incomplète, fausse ou inexistant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.</a:t>
            </a:r>
            <a:endParaRPr lang="fr-FR" sz="1800" dirty="0">
              <a:solidFill>
                <a:srgbClr val="222C4A"/>
              </a:solidFill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274638" indent="-285750">
              <a:spcAft>
                <a:spcPts val="1500"/>
              </a:spcAft>
            </a:pPr>
            <a:r>
              <a:rPr lang="fr-FR" sz="1800" b="1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ersonne dans l’équipe n’avait encore développé sur l’application Hub Entreprendre ni même lancé en local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.</a:t>
            </a:r>
            <a:endParaRPr lang="fr-FR" sz="1800" b="1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274638" indent="-285750"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ontraintes techniques </a:t>
            </a: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: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installation d’environnement, pas de configuration pour le déploiement et de connexion avec les nombreuses API, expiration des certificats, droits insuffisants sachant que l’application tournait déjà en production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274638" indent="-285750">
              <a:spcAft>
                <a:spcPts val="1500"/>
              </a:spcAft>
            </a:pPr>
            <a:r>
              <a:rPr lang="fr-FR" sz="1800" b="1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J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amais réussi à lancer l’application en local malgré l’intervention d’experts d’autres équipes d’Inetum et je développais donc en aveugl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97054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45F4B639-9EC2-9D12-E91C-D4155DF97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ésentation de l’entrepris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B2E19D0-294F-8EAE-808D-A5F67E58FB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1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8275BDC-4095-77AD-C4FD-FA0397A377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9303" y="6089650"/>
            <a:ext cx="2336698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964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602436-C542-1A8B-0550-0BBEA6983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issions annexes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49C8C0C-2197-B947-98B1-1D686B3C3C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3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054F99F-D89F-BE75-6B3D-0C4D94603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9303" y="6089650"/>
            <a:ext cx="2336698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4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AA46719-CF4E-5D32-7D5A-19CABD762B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ARL Source – Education et Por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A5737F-AC31-CB1C-3E72-2713A62AE8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367174"/>
            <a:ext cx="8765977" cy="1757648"/>
          </a:xfrm>
        </p:spPr>
        <p:txBody>
          <a:bodyPr/>
          <a:lstStyle/>
          <a:p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ARL Sourc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GMAO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(Gestion de maintenance assistée par ordinateur) destiné aux différents secteurs de l’industrie, du tertiaire, des institutions publiques, etc.</a:t>
            </a:r>
            <a:endParaRPr lang="fr-FR" sz="1800" dirty="0">
              <a:solidFill>
                <a:srgbClr val="222C4A"/>
              </a:solidFill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r>
              <a:rPr lang="fr-FR" sz="1800" b="1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But</a:t>
            </a: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A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ssister quotidiennement les services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maintenance </a:t>
            </a:r>
            <a:r>
              <a:rPr lang="fr-FR" sz="1800" b="1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des lycées et des ports de la région Occitanie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dans leurs missions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 en adéquation avec les nouvelles technologies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endParaRPr lang="fr-FR" dirty="0"/>
          </a:p>
        </p:txBody>
      </p:sp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94F95BC2-5D2C-F02A-45EB-F226359A1C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622" y="2966085"/>
            <a:ext cx="7400727" cy="3653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3585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942FA1D-292A-4B97-E10C-6330F68255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371496"/>
            <a:ext cx="8694148" cy="5208336"/>
          </a:xfrm>
        </p:spPr>
        <p:txBody>
          <a:bodyPr/>
          <a:lstStyle/>
          <a:p>
            <a:pPr>
              <a:spcAft>
                <a:spcPts val="1500"/>
              </a:spcAft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ARL Source est édité par « CARL software » qui est propriétaire du code source et je n’avais pas accès au code source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T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ickets incidents reçus sur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IWS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doivent être résolus dans le temps imparti suivant ses priorités (1 à 3 jours) pour ne pas payer des pénalités.</a:t>
            </a:r>
            <a:b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b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a solution à ces tickets concernait pour la plupart à :</a:t>
            </a:r>
          </a:p>
          <a:p>
            <a:pPr marL="285750" indent="-28575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onfigurations via L’IHM du logiciel grâce à un accès super Admin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</a:t>
            </a:r>
          </a:p>
          <a:p>
            <a:pPr marL="285750" indent="-28575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E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hanges avec l’éditeur via des tickets d’incident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</a:t>
            </a:r>
          </a:p>
          <a:p>
            <a:pPr marL="285750" indent="-28575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I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nterventions sur la BDD de CARL via des requêtes SQL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.</a:t>
            </a:r>
            <a:b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b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J’ai dû apprendre le contexte métier et analyser le BDD pour enfin construire les requêtes SQL dont j’avais besoin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422FF7D-0A52-B97F-8863-4CB25BA340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473" y="697702"/>
            <a:ext cx="7561065" cy="436516"/>
          </a:xfrm>
        </p:spPr>
        <p:txBody>
          <a:bodyPr/>
          <a:lstStyle/>
          <a:p>
            <a:r>
              <a:rPr lang="fr-FR" dirty="0"/>
              <a:t>CARL Source – Education et Port</a:t>
            </a:r>
          </a:p>
        </p:txBody>
      </p:sp>
    </p:spTree>
    <p:extLst>
      <p:ext uri="{BB962C8B-B14F-4D97-AF65-F5344CB8AC3E}">
        <p14:creationId xmlns:p14="http://schemas.microsoft.com/office/powerpoint/2010/main" val="10713377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4DE54B06-0D11-07F7-92B6-AF47CD9E7F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036" y="848210"/>
            <a:ext cx="9285764" cy="5326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6933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43C1582-1C2B-C2CC-2F99-BF37043D7E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4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24ADFAA-9D1A-54F2-8D46-2FACBC0EC6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eption fonctionnell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8E77133D-C15B-C373-A4E2-BA5FFE2D5B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9175" y="6064250"/>
            <a:ext cx="2246825" cy="79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60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85CCDE1-B9FB-3F39-1BFF-DDD943ECDF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ourquoi Conception fonctionnelle ?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DC8DADB-AC3F-435A-7C7B-2A089643A1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494174"/>
            <a:ext cx="8694148" cy="3551215"/>
          </a:xfrm>
        </p:spPr>
        <p:txBody>
          <a:bodyPr/>
          <a:lstStyle/>
          <a:p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La conception fonctionnelle permet de bien définir l’application </a:t>
            </a:r>
            <a:r>
              <a:rPr lang="fr-FR" sz="1800" b="1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du point de vue de l’utilisateur. </a:t>
            </a:r>
          </a:p>
          <a:p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Le langage graphique de </a:t>
            </a:r>
            <a:r>
              <a:rPr lang="fr-FR" sz="1800" b="1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modélisation UML</a:t>
            </a: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 a été utilisé pour décrire les spécifications fonctionnelles du projet. </a:t>
            </a:r>
          </a:p>
          <a:p>
            <a:r>
              <a:rPr lang="fr-FR" u="sng" dirty="0"/>
              <a:t>Etapes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Analyse du besoin : contexte et objectif, analyse de l’existant (acteurs, partenaires et dépendances, fonctionnalités, cas d’usage, IH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Ma mission : spécification fonctionnelles détaillées, maquettes, format des fichiers, cas d’us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Besoin non fonctionnels </a:t>
            </a: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66293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F16473-C9DF-3D4F-1934-FF8BF62C16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Analyse du besoin – Hub Entreprend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995A62C-E66D-ADA2-4939-7EDFE563E2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989474"/>
            <a:ext cx="8694148" cy="3588918"/>
          </a:xfrm>
        </p:spPr>
        <p:txBody>
          <a:bodyPr/>
          <a:lstStyle/>
          <a:p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’analyse du besoin permet d’identifier les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attentes des utilisateurs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afin de décri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e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rocessus métier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dans lequel l’application informatique à développer devra interveni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es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tâches prises en charge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ar cette 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ses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interaction avec les différents intervenants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(utilisateurs et éventuellement avec les autres systèmes informatiques). </a:t>
            </a:r>
            <a:b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endParaRPr lang="fr-FR" sz="1800" dirty="0">
              <a:solidFill>
                <a:srgbClr val="222C4A"/>
              </a:solidFill>
              <a:effectLst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our cela, j’ai organisé un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échange sur team-speak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avec une représentante du métier coté Région Occitanie pour qu’elle puisse m’expliquer en détail les processus métier et les attentes sur les améliorations que je dois implémenter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81609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67FE6EF-202E-A7D1-C7D9-C097A0BA98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ontexte et objectifs du Hub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220B842-DB1B-4065-F317-B4D9AEC8C2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373524"/>
            <a:ext cx="8694148" cy="5939305"/>
          </a:xfrm>
        </p:spPr>
        <p:txBody>
          <a:bodyPr/>
          <a:lstStyle/>
          <a:p>
            <a:r>
              <a:rPr lang="fr-FR" b="1" dirty="0"/>
              <a:t>Qui 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créateurs</a:t>
            </a:r>
            <a:r>
              <a:rPr lang="fr-FR" dirty="0"/>
              <a:t>, </a:t>
            </a:r>
            <a:r>
              <a:rPr lang="fr-FR" b="1" dirty="0"/>
              <a:t>repreneurs</a:t>
            </a:r>
            <a:r>
              <a:rPr lang="fr-FR" dirty="0"/>
              <a:t> et </a:t>
            </a:r>
            <a:r>
              <a:rPr lang="fr-FR" b="1" dirty="0"/>
              <a:t>chefs d'entrepr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Le Réseau des Développeurs Economiques </a:t>
            </a:r>
            <a:r>
              <a:rPr lang="fr-FR" dirty="0"/>
              <a:t>Occitanie intégré territorialisé piloté par la Région (400 structures et 1.600 membres) </a:t>
            </a:r>
          </a:p>
          <a:p>
            <a:endParaRPr lang="fr-FR" dirty="0"/>
          </a:p>
          <a:p>
            <a:r>
              <a:rPr lang="fr-FR" dirty="0"/>
              <a:t>Chaque membre dispose d’un </a:t>
            </a:r>
            <a:r>
              <a:rPr lang="fr-FR" b="1" dirty="0"/>
              <a:t>espace partenaire </a:t>
            </a:r>
            <a:r>
              <a:rPr lang="fr-FR" dirty="0"/>
              <a:t>dans le Hub qui lui permet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'obtenir des informations sur les </a:t>
            </a:r>
            <a:r>
              <a:rPr lang="fr-FR" b="1" dirty="0"/>
              <a:t>aides et appels à projets des financeu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 consulter les </a:t>
            </a:r>
            <a:r>
              <a:rPr lang="fr-FR" b="1" dirty="0"/>
              <a:t>actualités de la Région et les évènements économiqu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 bénéficier d’un espace personnalisé pour accéder : </a:t>
            </a:r>
          </a:p>
          <a:p>
            <a:endParaRPr lang="fr-FR" dirty="0"/>
          </a:p>
          <a:p>
            <a:pPr marL="461250" lvl="7" indent="-285750">
              <a:buFont typeface="Wingdings" panose="05000000000000000000" pitchFamily="2" charset="2"/>
              <a:buChar char="Ø"/>
            </a:pPr>
            <a:r>
              <a:rPr lang="fr-FR" sz="1400" dirty="0"/>
              <a:t>À un référent</a:t>
            </a:r>
          </a:p>
          <a:p>
            <a:pPr marL="461250" lvl="7" indent="-285750">
              <a:buFont typeface="Wingdings" panose="05000000000000000000" pitchFamily="2" charset="2"/>
              <a:buChar char="Ø"/>
            </a:pPr>
            <a:r>
              <a:rPr lang="fr-FR" sz="1400" dirty="0"/>
              <a:t>À un parcours qui lui permettra d’identifier le(s) financement(s) adapté(s) à son projet. </a:t>
            </a:r>
          </a:p>
          <a:p>
            <a:pPr marL="461250" lvl="7" indent="-285750">
              <a:buFont typeface="Wingdings" panose="05000000000000000000" pitchFamily="2" charset="2"/>
              <a:buChar char="Ø"/>
            </a:pPr>
            <a:r>
              <a:rPr lang="fr-FR" sz="1400" dirty="0"/>
              <a:t>À des actualités et évènements relatifs à sa ou ses filières. </a:t>
            </a:r>
          </a:p>
          <a:p>
            <a:pPr marL="461250" lvl="7" indent="-285750">
              <a:buFont typeface="Wingdings" panose="05000000000000000000" pitchFamily="2" charset="2"/>
              <a:buChar char="Ø"/>
            </a:pPr>
            <a:r>
              <a:rPr lang="fr-FR" sz="1400" dirty="0"/>
              <a:t>Au dépôt en ligne des demandes d’aide.</a:t>
            </a:r>
          </a:p>
          <a:p>
            <a:pPr marL="461250" lvl="7" indent="-285750">
              <a:buFont typeface="Wingdings" panose="05000000000000000000" pitchFamily="2" charset="2"/>
              <a:buChar char="Ø"/>
            </a:pPr>
            <a:r>
              <a:rPr lang="fr-FR" sz="1400" dirty="0"/>
              <a:t>Au suivi de l’état d’avancement des dossiers déposés. </a:t>
            </a:r>
          </a:p>
          <a:p>
            <a:r>
              <a:rPr lang="fr-FR" dirty="0"/>
              <a:t> </a:t>
            </a: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020795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D558E8-4AEC-2DCF-94C6-D5951B82F98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Analyse de l’existant du Hub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E627B4F-602D-1739-9FF6-CEB03E610A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279072"/>
            <a:ext cx="8694148" cy="5172528"/>
          </a:xfrm>
        </p:spPr>
        <p:txBody>
          <a:bodyPr/>
          <a:lstStyle/>
          <a:p>
            <a:r>
              <a:rPr lang="fr-FR" sz="2000" dirty="0">
                <a:solidFill>
                  <a:schemeClr val="accent1"/>
                </a:solidFill>
              </a:rPr>
              <a:t>Les partenaires et dépendances :</a:t>
            </a:r>
            <a:endParaRPr lang="fr-FR" dirty="0"/>
          </a:p>
          <a:p>
            <a:r>
              <a:rPr lang="fr-FR" sz="1800" b="1" u="sng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Les gestionnaires d'identités : </a:t>
            </a:r>
            <a:endParaRPr lang="fr-FR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Verdana" panose="020B0604030504040204" pitchFamily="34" charset="0"/>
            </a:endParaRPr>
          </a:p>
          <a:p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La </a:t>
            </a:r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GDI Entreprise 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pour les mandataires et les ayants droits des entreprises ainsi que les porteurs de projet. </a:t>
            </a:r>
            <a:endParaRPr lang="fr-FR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Verdana" panose="020B0604030504040204" pitchFamily="34" charset="0"/>
            </a:endParaRPr>
          </a:p>
          <a:p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La </a:t>
            </a:r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GDI Partenaire 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pour les accès au Back-Office et au Front Agent des agents de la Région Occitanie et des partenaires</a:t>
            </a:r>
          </a:p>
          <a:p>
            <a:endParaRPr lang="fr-FR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Verdana" panose="020B0604030504040204" pitchFamily="34" charset="0"/>
            </a:endParaRPr>
          </a:p>
          <a:p>
            <a:r>
              <a:rPr lang="fr-FR" sz="1800" b="1" u="sng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Les API Externes : </a:t>
            </a:r>
            <a:endParaRPr lang="fr-FR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Verdana" panose="020B0604030504040204" pitchFamily="34" charset="0"/>
            </a:endParaRPr>
          </a:p>
          <a:p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L'API Entreprise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 : informations administratives des entreprises. </a:t>
            </a:r>
          </a:p>
          <a:p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Progos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 : les dossiers de subventions  </a:t>
            </a:r>
            <a:endParaRPr lang="fr-FR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Verdana" panose="020B0604030504040204" pitchFamily="34" charset="0"/>
            </a:endParaRPr>
          </a:p>
          <a:p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SPIP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 : actualités de la Région</a:t>
            </a:r>
            <a:endParaRPr lang="fr-FR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Verdana" panose="020B0604030504040204" pitchFamily="34" charset="0"/>
            </a:endParaRPr>
          </a:p>
          <a:p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Grand Angle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 : (GDA) paiements faits par la Région et versées aux entreprises.</a:t>
            </a:r>
            <a:endParaRPr lang="fr-FR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Verdana" panose="020B0604030504040204" pitchFamily="34" charset="0"/>
            </a:endParaRPr>
          </a:p>
          <a:p>
            <a:r>
              <a:rPr lang="fr-F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BPI France : </a:t>
            </a:r>
            <a:r>
              <a:rPr lang="fr-FR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les "dossiers projeteurs" des entreprises.</a:t>
            </a:r>
            <a:endParaRPr lang="fr-FR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Verdana" panose="020B0604030504040204" pitchFamily="34" charset="0"/>
            </a:endParaRPr>
          </a:p>
          <a:p>
            <a:br>
              <a:rPr lang="fr-FR" dirty="0"/>
            </a:b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963168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778520C-6DAA-82CA-D9AE-437326C9BAD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Fonctionnalités du Hub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647192F-D34F-2AC6-F04E-5A55DA0EBD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290974"/>
            <a:ext cx="8694148" cy="5381845"/>
          </a:xfrm>
        </p:spPr>
        <p:txBody>
          <a:bodyPr/>
          <a:lstStyle/>
          <a:p>
            <a:r>
              <a:rPr lang="fr-FR" b="1" dirty="0"/>
              <a:t>3 portails web avec des fonctionnalités différentes :</a:t>
            </a:r>
          </a:p>
          <a:p>
            <a:endParaRPr lang="fr-FR" dirty="0"/>
          </a:p>
          <a:p>
            <a:r>
              <a:rPr lang="fr-FR" dirty="0"/>
              <a:t>Le </a:t>
            </a:r>
            <a:r>
              <a:rPr lang="fr-FR" b="1" dirty="0"/>
              <a:t>Front-entreprise</a:t>
            </a:r>
            <a:r>
              <a:rPr lang="fr-FR" dirty="0"/>
              <a:t> où les entreprises (mandataires, collaborateurs, prestataires externes) peuvent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Consulter les Actualités et les boites à out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Rechercher des financements et des évèn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Choisir un référ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Créer un proj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Suivre des dossiers</a:t>
            </a:r>
          </a:p>
          <a:p>
            <a:endParaRPr lang="fr-FR" dirty="0"/>
          </a:p>
          <a:p>
            <a:r>
              <a:rPr lang="fr-FR" dirty="0"/>
              <a:t>Le </a:t>
            </a:r>
            <a:r>
              <a:rPr lang="fr-FR" b="1" dirty="0"/>
              <a:t>Front-agent </a:t>
            </a:r>
            <a:r>
              <a:rPr lang="fr-FR" dirty="0"/>
              <a:t>où Agents région, Ad’OCC, et les partenaires Région (CMA, CCI) peuvent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Rechercher des entreprises (contact), des financements et des interlocuteurs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Recevoir des notif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Ajouter un acteur dans un groupe projet, un événement d’une str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Consultation l’historique, le portefeuille d’entreprise et créateurs-repreneurs, l’annuaire, le dossier projecteurs (BPI)</a:t>
            </a:r>
          </a:p>
        </p:txBody>
      </p:sp>
    </p:spTree>
    <p:extLst>
      <p:ext uri="{BB962C8B-B14F-4D97-AF65-F5344CB8AC3E}">
        <p14:creationId xmlns:p14="http://schemas.microsoft.com/office/powerpoint/2010/main" val="22968428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EC690732-32A7-2817-6DAE-8EFE04D2A08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Historique et présentation du group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77FB7A1-6860-7D51-9B52-8EAE0401B1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05" y="5153763"/>
            <a:ext cx="1701165" cy="939800"/>
          </a:xfrm>
          <a:prstGeom prst="rect">
            <a:avLst/>
          </a:prstGeom>
        </p:spPr>
      </p:pic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D145742E-597F-2360-86AC-33A8A73D2C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8088" y="5153963"/>
            <a:ext cx="1632099" cy="9396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55CCDC3E-80F7-B1CB-73EA-A207F8C00C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8630" y="3791285"/>
            <a:ext cx="2188856" cy="2973600"/>
          </a:xfrm>
          <a:prstGeom prst="rect">
            <a:avLst/>
          </a:prstGeom>
        </p:spPr>
      </p:pic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68BEE0B8-A680-F9A6-16F9-E12A10BD56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311" y="5152193"/>
            <a:ext cx="1354689" cy="939600"/>
          </a:xfrm>
          <a:prstGeom prst="rect">
            <a:avLst/>
          </a:prstGeom>
        </p:spPr>
      </p:pic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F669B546-BDC8-E418-AB96-05AE4C58C4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746" y="3791285"/>
            <a:ext cx="2124710" cy="2973705"/>
          </a:xfrm>
          <a:prstGeom prst="rect">
            <a:avLst/>
          </a:prstGeom>
        </p:spPr>
      </p:pic>
      <p:pic>
        <p:nvPicPr>
          <p:cNvPr id="11" name="Image 10" descr="Une image contenant carte&#10;&#10;Description générée automatiquement">
            <a:extLst>
              <a:ext uri="{FF2B5EF4-FFF2-40B4-BE49-F238E27FC236}">
                <a16:creationId xmlns:a16="http://schemas.microsoft.com/office/drawing/2014/main" id="{16784525-95F3-F6D6-6CDF-5C08ED1082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05" y="2957195"/>
            <a:ext cx="4883644" cy="2194998"/>
          </a:xfrm>
          <a:prstGeom prst="rect">
            <a:avLst/>
          </a:prstGeom>
        </p:spPr>
      </p:pic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3DCA4619-7741-1A1A-AE2E-6217EC34242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8518" y="1305780"/>
            <a:ext cx="1537750" cy="448948"/>
          </a:xfrm>
          <a:prstGeom prst="rect">
            <a:avLst/>
          </a:prstGeom>
        </p:spPr>
      </p:pic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D3587A4E-92F6-46B7-62B2-6CA0B0F0346D}"/>
              </a:ext>
            </a:extLst>
          </p:cNvPr>
          <p:cNvSpPr txBox="1">
            <a:spLocks/>
          </p:cNvSpPr>
          <p:nvPr/>
        </p:nvSpPr>
        <p:spPr>
          <a:xfrm>
            <a:off x="209836" y="1429493"/>
            <a:ext cx="2618206" cy="625606"/>
          </a:xfrm>
          <a:prstGeom prst="rect">
            <a:avLst/>
          </a:prstGeom>
        </p:spPr>
        <p:txBody>
          <a:bodyPr vert="horz" wrap="square" lIns="0" tIns="108000" rIns="0" bIns="0" rtlCol="0">
            <a:spAutoFit/>
          </a:bodyPr>
          <a:lstStyle>
            <a:lvl1pPr marL="0" algn="l" eaLnBrk="1" hangingPunct="1">
              <a:lnSpc>
                <a:spcPct val="110000"/>
              </a:lnSpc>
              <a:spcBef>
                <a:spcPts val="378"/>
              </a:spcBef>
              <a:spcAft>
                <a:spcPts val="378"/>
              </a:spcAft>
              <a:defRPr sz="1463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128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 eaLnBrk="1" hangingPunct="1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85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dirty="0"/>
              <a:t>1970 « Groupe Français d’Informatique » </a:t>
            </a:r>
            <a:r>
              <a:rPr lang="fr-FR" sz="1600" b="1" dirty="0"/>
              <a:t>Gfi</a:t>
            </a:r>
            <a:endParaRPr lang="fr-FR" sz="1600" dirty="0"/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B4D3EEF3-20E8-8622-FF09-4FB73CF70E38}"/>
              </a:ext>
            </a:extLst>
          </p:cNvPr>
          <p:cNvSpPr txBox="1">
            <a:spLocks/>
          </p:cNvSpPr>
          <p:nvPr/>
        </p:nvSpPr>
        <p:spPr>
          <a:xfrm>
            <a:off x="5353050" y="1429493"/>
            <a:ext cx="4457700" cy="1167293"/>
          </a:xfrm>
          <a:prstGeom prst="rect">
            <a:avLst/>
          </a:prstGeom>
        </p:spPr>
        <p:txBody>
          <a:bodyPr vert="horz" wrap="square" lIns="0" tIns="108000" rIns="0" bIns="0" rtlCol="0">
            <a:spAutoFit/>
          </a:bodyPr>
          <a:lstStyle>
            <a:lvl1pPr marL="0" algn="l" eaLnBrk="1" hangingPunct="1">
              <a:lnSpc>
                <a:spcPct val="110000"/>
              </a:lnSpc>
              <a:spcBef>
                <a:spcPts val="378"/>
              </a:spcBef>
              <a:spcAft>
                <a:spcPts val="378"/>
              </a:spcAft>
              <a:defRPr sz="1463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128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 eaLnBrk="1" hangingPunct="1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85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1500"/>
              </a:spcBef>
            </a:pPr>
            <a:r>
              <a:rPr lang="fr-FR" sz="160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 2020, l’ESN internationale se rebaptise pour incarner son </a:t>
            </a:r>
            <a:r>
              <a:rPr lang="fr-FR" sz="1600" b="1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DN</a:t>
            </a:r>
            <a:r>
              <a:rPr lang="fr-FR" sz="160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, qui revendique </a:t>
            </a:r>
            <a:r>
              <a:rPr lang="fr-FR" sz="1600" b="1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l’esprit d’entreprenariat</a:t>
            </a:r>
            <a:r>
              <a:rPr lang="fr-FR" sz="160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, une </a:t>
            </a:r>
            <a:r>
              <a:rPr lang="fr-FR" sz="1600" b="1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mbition</a:t>
            </a:r>
            <a:r>
              <a:rPr lang="fr-FR" sz="160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et un </a:t>
            </a:r>
            <a:r>
              <a:rPr lang="fr-FR" sz="1600" b="1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sprit de conquête</a:t>
            </a:r>
            <a:r>
              <a:rPr lang="fr-FR" sz="160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fr-FR" sz="1600" dirty="0">
              <a:effectLst/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9A5B1ACA-4A87-72CE-5D6D-DB91DD140BFF}"/>
              </a:ext>
            </a:extLst>
          </p:cNvPr>
          <p:cNvSpPr txBox="1">
            <a:spLocks/>
          </p:cNvSpPr>
          <p:nvPr/>
        </p:nvSpPr>
        <p:spPr>
          <a:xfrm>
            <a:off x="5353050" y="2596786"/>
            <a:ext cx="4265097" cy="896450"/>
          </a:xfrm>
          <a:prstGeom prst="rect">
            <a:avLst/>
          </a:prstGeom>
        </p:spPr>
        <p:txBody>
          <a:bodyPr vert="horz" wrap="square" lIns="0" tIns="108000" rIns="0" bIns="0" rtlCol="0">
            <a:spAutoFit/>
          </a:bodyPr>
          <a:lstStyle>
            <a:lvl1pPr marL="0" algn="l" eaLnBrk="1" hangingPunct="1">
              <a:lnSpc>
                <a:spcPct val="110000"/>
              </a:lnSpc>
              <a:spcBef>
                <a:spcPts val="378"/>
              </a:spcBef>
              <a:spcAft>
                <a:spcPts val="378"/>
              </a:spcAft>
              <a:defRPr sz="1463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128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 eaLnBrk="1" hangingPunct="1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85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dirty="0"/>
              <a:t>Slogan : « </a:t>
            </a:r>
            <a:r>
              <a:rPr lang="fr-FR" sz="1600" b="1" dirty="0"/>
              <a:t>Positive digital flow </a:t>
            </a:r>
            <a:r>
              <a:rPr lang="fr-FR" sz="1600" dirty="0"/>
              <a:t>»  </a:t>
            </a:r>
            <a:r>
              <a:rPr lang="fr-FR" sz="1600" dirty="0">
                <a:sym typeface="Wingdings" panose="05000000000000000000" pitchFamily="2" charset="2"/>
              </a:rPr>
              <a:t> S</a:t>
            </a:r>
            <a:r>
              <a:rPr lang="fr-FR" sz="1600" dirty="0"/>
              <a:t>outenir la transformation digitale des entreprises. </a:t>
            </a:r>
          </a:p>
        </p:txBody>
      </p:sp>
      <p:sp>
        <p:nvSpPr>
          <p:cNvPr id="15" name="Flèche : droite 14">
            <a:extLst>
              <a:ext uri="{FF2B5EF4-FFF2-40B4-BE49-F238E27FC236}">
                <a16:creationId xmlns:a16="http://schemas.microsoft.com/office/drawing/2014/main" id="{CD7F4129-27E9-2D15-98E5-B2CE6D27A0B2}"/>
              </a:ext>
            </a:extLst>
          </p:cNvPr>
          <p:cNvSpPr/>
          <p:nvPr/>
        </p:nvSpPr>
        <p:spPr>
          <a:xfrm>
            <a:off x="3007151" y="1762300"/>
            <a:ext cx="1862679" cy="32051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094199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D935BC7-DAD1-9FF7-4D46-6BE3988EEF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Fonctionnalités du Hub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7D98F13-3D80-EB7A-AB44-72A76DD9ED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989474"/>
            <a:ext cx="8694148" cy="4186133"/>
          </a:xfrm>
        </p:spPr>
        <p:txBody>
          <a:bodyPr/>
          <a:lstStyle/>
          <a:p>
            <a:r>
              <a:rPr lang="fr-FR" dirty="0"/>
              <a:t>Le </a:t>
            </a:r>
            <a:r>
              <a:rPr lang="fr-FR" b="1" dirty="0"/>
              <a:t>Back-office</a:t>
            </a:r>
            <a:r>
              <a:rPr lang="fr-FR" dirty="0"/>
              <a:t> où les agents région (rôle Admin) peuvent gérer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s structures d’accompagn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s dispositifs (financement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s interlocuteurs (référents, spécialist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s out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s territoi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s filiè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s actualité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s encart extranet (Front ag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s brèves d’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Des événements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068718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947810-721E-BA55-4E7F-79ABC20A2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473" y="697702"/>
            <a:ext cx="7561065" cy="436516"/>
          </a:xfrm>
        </p:spPr>
        <p:txBody>
          <a:bodyPr/>
          <a:lstStyle/>
          <a:p>
            <a:r>
              <a:rPr lang="fr-FR" dirty="0"/>
              <a:t>Spécification des besoins fonctionnel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F14B91A-4772-0B1F-A5DB-07F8EFF29A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989474"/>
            <a:ext cx="8694148" cy="2429113"/>
          </a:xfrm>
        </p:spPr>
        <p:txBody>
          <a:bodyPr/>
          <a:lstStyle/>
          <a:p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Un </a:t>
            </a:r>
            <a:r>
              <a:rPr lang="fr-FR" sz="1800" b="1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diagramme de cas d’utilisation </a:t>
            </a: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capture le </a:t>
            </a:r>
            <a:r>
              <a:rPr lang="fr-FR" sz="1800" b="1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comportement d’un système</a:t>
            </a: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, d’un sous-système, d’une classe ou d’un composant </a:t>
            </a:r>
            <a:r>
              <a:rPr lang="fr-FR" sz="1800" b="1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tel qu’un utilisateur extérieur le voit</a:t>
            </a: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. Il scinde la fonctionnalité du système en unités cohérentes, les cas d’utilisation, ayant un sens pour les acteurs.</a:t>
            </a:r>
          </a:p>
          <a:p>
            <a:endParaRPr lang="fr-FR" sz="1800" dirty="0">
              <a:latin typeface="Calibri" panose="020F0502020204030204" pitchFamily="34" charset="0"/>
              <a:ea typeface="Verdana" panose="020B0604030504040204" pitchFamily="34" charset="0"/>
            </a:endParaRPr>
          </a:p>
          <a:p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Ce travail m’a permis de comprendre et de voir toutes les tâches associées à </a:t>
            </a:r>
            <a:r>
              <a:rPr lang="fr-FR" sz="1800" b="1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un Agent Administrateur Région et ses interactions avec les systèmes Back-Office.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39332042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20A772A5-983B-5F71-ED8E-F6C4141B49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87350"/>
            <a:ext cx="8483600" cy="56880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5632642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6287C83-DA0B-3D20-2607-6E3A40C5B8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Spécification des donné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E685F2C-162C-88F8-5FA7-E1A5F57607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3" y="1989474"/>
            <a:ext cx="8694148" cy="3349044"/>
          </a:xfrm>
        </p:spPr>
        <p:txBody>
          <a:bodyPr/>
          <a:lstStyle/>
          <a:p>
            <a:pPr lvl="0">
              <a:tabLst>
                <a:tab pos="457200" algn="l"/>
              </a:tabLst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as de documents de conception : 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reverse-engineering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de l’application et de la base de données.</a:t>
            </a:r>
            <a:b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endParaRPr lang="fr-FR" sz="1800" dirty="0">
              <a:solidFill>
                <a:srgbClr val="222C4A"/>
              </a:solidFill>
              <a:effectLst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lvl="0">
              <a:tabLst>
                <a:tab pos="457200" algn="l"/>
              </a:tabLst>
            </a:pPr>
            <a:r>
              <a:rPr lang="fr-FR" sz="1800" dirty="0">
                <a:latin typeface="Calibri" panose="020F0502020204030204" pitchFamily="34" charset="0"/>
                <a:ea typeface="Verdana" panose="020B0604030504040204" pitchFamily="34" charset="0"/>
              </a:rPr>
              <a:t>M</a:t>
            </a: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éthodologie </a:t>
            </a:r>
            <a:r>
              <a:rPr lang="fr-FR" sz="1800" b="1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Merise</a:t>
            </a: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 :</a:t>
            </a:r>
            <a:endParaRPr lang="fr-FR" sz="1800" dirty="0">
              <a:solidFill>
                <a:srgbClr val="222C4A"/>
              </a:solidFill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Dictionnaire de donnée :</a:t>
            </a: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 la liste de toutes les données à digitaliser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odèle conceptuel des données : </a:t>
            </a: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les données utilisées par le système d’information et leurs relations entre elles</a:t>
            </a:r>
            <a:endParaRPr lang="fr-FR" sz="1800" b="1" dirty="0">
              <a:solidFill>
                <a:srgbClr val="222C4A"/>
              </a:solidFill>
              <a:effectLst/>
              <a:latin typeface="Calibri" panose="020F050202020403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odèle logique des données : </a:t>
            </a: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la structure de la base de données</a:t>
            </a:r>
            <a:endParaRPr lang="fr-FR" sz="1800" b="1" dirty="0">
              <a:solidFill>
                <a:srgbClr val="222C4A"/>
              </a:solidFill>
              <a:effectLst/>
              <a:latin typeface="Calibri" panose="020F050202020403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lvl="0">
              <a:tabLst>
                <a:tab pos="457200" algn="l"/>
              </a:tabLst>
            </a:pPr>
            <a:endParaRPr lang="fr-FR" sz="1800" dirty="0">
              <a:effectLst/>
              <a:latin typeface="Calibri" panose="020F050202020403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561267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55978D9D-DEB9-9EF1-80D0-3E1EF94406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9130" y="730885"/>
            <a:ext cx="6047740" cy="539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78553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C851E989-84B4-35E6-27CA-581D48DE40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820" y="920750"/>
            <a:ext cx="8114244" cy="5245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55394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7BEE218B-809E-4E7D-1C92-60700EB12D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408237" y="1096522"/>
            <a:ext cx="6357622" cy="456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59553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F06D653-27B2-B074-69FC-9DF03962B20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IHM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73B66CF-9A63-7E14-6B6A-5112E0561D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473" y="2343150"/>
            <a:ext cx="4132580" cy="31623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85D025E-C8BA-A840-9A6A-899254A3A5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3094" y="2343150"/>
            <a:ext cx="4969611" cy="316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55599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88B7B8-C87B-E534-9A74-FAC315BBBF7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Ma Missio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F9A2E47-1065-A63D-ACBD-3B2E34F744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6923" y="1113174"/>
            <a:ext cx="8694148" cy="1107726"/>
          </a:xfrm>
        </p:spPr>
        <p:txBody>
          <a:bodyPr/>
          <a:lstStyle/>
          <a:p>
            <a:r>
              <a:rPr lang="fr-FR" sz="1800" b="1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Spécifications Fonctionnelles Détaillées </a:t>
            </a:r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qui désignent l’ensemble de documents décrivant en détail le </a:t>
            </a:r>
            <a:r>
              <a:rPr lang="fr-FR" sz="1800" b="1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comportement des fonctionnalités et sous-fonctions de la solution cible</a:t>
            </a:r>
          </a:p>
          <a:p>
            <a:r>
              <a:rPr lang="fr-FR" sz="1800" dirty="0">
                <a:effectLst/>
                <a:latin typeface="Calibri" panose="020F0502020204030204" pitchFamily="34" charset="0"/>
                <a:ea typeface="Verdana" panose="020B0604030504040204" pitchFamily="34" charset="0"/>
              </a:rPr>
              <a:t> Ce sont des documents à fournir à la livraison des évolutions.</a:t>
            </a:r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223A7D9A-E26D-C142-85E6-6BB397769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01" y="2636372"/>
            <a:ext cx="9816799" cy="422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134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C3A4691-BBFF-0A6E-5E9E-E22B933ED2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Maquette et format du fichier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C3F4B39-72EE-BBF9-4761-DD40E242B3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022" y="2794000"/>
            <a:ext cx="8962827" cy="4416324"/>
          </a:xfrm>
        </p:spPr>
        <p:txBody>
          <a:bodyPr/>
          <a:lstStyle/>
          <a:p>
            <a:pPr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Fichier en format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sv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 rassemblant la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iste des dispositifs du Hub 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avec les champs suivants :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 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Id, Nom, Courriel, Catégorie, Phrase d’accroche, Chiffres clés, Actif, Type, Filières, Catégories du projet, Dépenses éligibles, Objectifs, Nature aide, Tags, NAF exclus, Date de création, Date </a:t>
            </a:r>
            <a:r>
              <a:rPr lang="fr-FR" sz="1800" dirty="0" err="1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MaJ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 Date de départ, Date de fin, Operateur, Experts, Lien fiche descriptive (</a:t>
            </a:r>
            <a:r>
              <a:rPr lang="fr-FR" sz="1800" dirty="0" err="1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df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) (nom du document + nom pour l'affichage s'il y en a un spécifique), Documents, Documents visibles uniquement sur le portail Agents (Lien vers la FAQ, PDF), Liens de dépôt de dossier PDF (+ nom du lien s'il existe dans la colonne suivante, séparés par des slashs), Liens de dépôt de dossier URL (URL + nom du lien s'il existe, séparés par des slashs), Vidéos (nom de la vidéo : URL de la vidéo, séparés par des slashs), Age min, Age max, Nombre d’employés min, Nombre d’employés max, Lien URL de la page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ED4DB97-0C20-3C7F-2403-344C951E82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473" y="1508504"/>
            <a:ext cx="8284542" cy="1031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682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DD8ECFC8-D449-D8A6-8244-D571ADF8038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En Franc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D65D033-0FD7-AF56-74AC-9A7577B0EB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58148" y="1568760"/>
            <a:ext cx="4974010" cy="1860240"/>
          </a:xfrm>
        </p:spPr>
        <p:txBody>
          <a:bodyPr/>
          <a:lstStyle/>
          <a:p>
            <a:r>
              <a:rPr lang="fr-FR" sz="1800" dirty="0">
                <a:solidFill>
                  <a:srgbClr val="222C4A"/>
                </a:solidFill>
                <a:latin typeface="+mj-lt"/>
                <a:ea typeface="Verdana" panose="020B0604030504040204" pitchFamily="34" charset="0"/>
                <a:cs typeface="Calibri" panose="020F0502020204030204" pitchFamily="34" charset="0"/>
              </a:rPr>
              <a:t>F</a:t>
            </a:r>
            <a:r>
              <a:rPr lang="fr-FR" sz="1800" dirty="0">
                <a:solidFill>
                  <a:srgbClr val="222C4A"/>
                </a:solidFill>
                <a:effectLst/>
                <a:latin typeface="+mj-lt"/>
                <a:ea typeface="Verdana" panose="020B0604030504040204" pitchFamily="34" charset="0"/>
                <a:cs typeface="Calibri" panose="020F0502020204030204" pitchFamily="34" charset="0"/>
              </a:rPr>
              <a:t>orte implantation sur le territoire français en raison de son histoire</a:t>
            </a:r>
          </a:p>
          <a:p>
            <a:r>
              <a:rPr lang="fr-FR" sz="1800" b="1" dirty="0">
                <a:solidFill>
                  <a:srgbClr val="222C4A"/>
                </a:solidFill>
                <a:effectLst/>
                <a:latin typeface="+mj-lt"/>
                <a:ea typeface="Verdana" panose="020B0604030504040204" pitchFamily="34" charset="0"/>
                <a:cs typeface="Calibri" panose="020F0502020204030204" pitchFamily="34" charset="0"/>
              </a:rPr>
              <a:t>39% du chiffre d’affaires</a:t>
            </a:r>
            <a:r>
              <a:rPr lang="fr-FR" sz="1800" dirty="0">
                <a:solidFill>
                  <a:srgbClr val="222C4A"/>
                </a:solidFill>
                <a:effectLst/>
                <a:latin typeface="+mj-lt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fr-FR" sz="1800" b="1" dirty="0">
                <a:solidFill>
                  <a:srgbClr val="222C4A"/>
                </a:solidFill>
                <a:effectLst/>
                <a:latin typeface="+mj-lt"/>
                <a:ea typeface="Verdana" panose="020B0604030504040204" pitchFamily="34" charset="0"/>
                <a:cs typeface="Calibri" panose="020F0502020204030204" pitchFamily="34" charset="0"/>
              </a:rPr>
              <a:t>11.000 consultants</a:t>
            </a:r>
            <a:endParaRPr lang="fr-FR" sz="1800" dirty="0">
              <a:solidFill>
                <a:srgbClr val="222C4A"/>
              </a:solidFill>
              <a:effectLst/>
              <a:latin typeface="+mj-lt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6DCD8D6D-C374-8E52-53A6-98719D075F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595" y="4257674"/>
            <a:ext cx="3081852" cy="657225"/>
          </a:xfrm>
          <a:prstGeom prst="rect">
            <a:avLst/>
          </a:prstGeom>
        </p:spPr>
      </p:pic>
      <p:pic>
        <p:nvPicPr>
          <p:cNvPr id="7" name="Image 6" descr="Une image contenant carte&#10;&#10;Description générée automatiquement">
            <a:extLst>
              <a:ext uri="{FF2B5EF4-FFF2-40B4-BE49-F238E27FC236}">
                <a16:creationId xmlns:a16="http://schemas.microsoft.com/office/drawing/2014/main" id="{19AD281B-E211-E87C-B9C5-6791913D7C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" y="1735455"/>
            <a:ext cx="4448810" cy="407162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59F4EF7A-2460-D143-4BEB-A0ED590A22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7920" y="4004945"/>
            <a:ext cx="1403350" cy="149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10186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0148D26-EED4-D816-789A-4BB4796AB2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as d’utilisation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002498A-5F1A-3FFC-9578-3BCEB6AFD0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1771" y="1638034"/>
            <a:ext cx="6542457" cy="4715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31213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6A9715A-87D1-D3AD-27F2-357F7AD3025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Besoin non fonctionnel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131E279-D6EC-C728-284A-650175C2D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9472" y="1341774"/>
            <a:ext cx="8778677" cy="4747697"/>
          </a:xfrm>
        </p:spPr>
        <p:txBody>
          <a:bodyPr/>
          <a:lstStyle/>
          <a:p>
            <a:pPr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BF</a:t>
            </a:r>
            <a:r>
              <a:rPr lang="fr-FR" sz="1800" b="1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fonctionnalités concrètes du produit != </a:t>
            </a:r>
            <a:r>
              <a:rPr lang="fr-FR" sz="1800" dirty="0">
                <a:solidFill>
                  <a:srgbClr val="222C4A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BNF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: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indicateurs de qualité de l’exécution des besoins fonctionnels. </a:t>
            </a:r>
            <a:endParaRPr lang="fr-FR" sz="1800" dirty="0">
              <a:solidFill>
                <a:srgbClr val="222C4A"/>
              </a:solidFill>
              <a:effectLst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285750" indent="-28575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nformité du système à un environnement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normes réglementaires, licences ,…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Maintenabilité du systèm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traçage des erreurs, possibilité des mises à jour, testabilité, .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erformance du systèm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charge utilisateurs / transactions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Portabilité du systèm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compatibilité avec diverses plateformes, facilité de remplacement d’autres systèmes en place, facilité d’installation et de désinstallation de l’application, etc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Fiabilité du systèm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capacité à gérer les erreurs du système, densité des défauts de qualité, capacité à être remis en état rapidement, capacité à résister aux attaques, etc.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Sécurité du systèm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traçage des MAJ des données, gestion de la confidentialité …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285750" lvl="0" indent="-28575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Utilisation du systèm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facilité d’utilisation en limitant le nombre de clic à maximum 3 clics pour finaliser la transaction, rendre l’application attractive, …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29654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B742936-3CB9-5F51-ECFA-38C6D17A47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5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0FDE40A-182D-7039-BF70-BC70FEEDB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eption techniqu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EB60E03-4505-183C-FDDE-FC3E2E4828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9302" y="6032500"/>
            <a:ext cx="2336698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23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A5D800-AB91-3A1F-7D69-079CBCC880A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EA23B34-31AF-849D-C75E-E001B49CC5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129774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FF3425-3FE8-0A98-397A-3FCB881F0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mplémentation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D150983-70DA-5D96-77C2-8C018890DA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6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D7621DC-3417-1F20-8D24-1E225DFFC4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9302" y="6032500"/>
            <a:ext cx="2336698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998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00981DC-51C1-D685-80B0-6936D5AD60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7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2C6107E-654B-7FBE-EF05-569D19C71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écurité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B3DEBEA-277B-FC9C-113D-6CD14469BB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9302" y="6032500"/>
            <a:ext cx="2336698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034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EAC1239-FB8D-2D66-4593-B0410AEB65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8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C5BE52B0-B955-CE87-AACB-D770EA5F2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Deploiement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BF8471D-3785-8B98-BA30-6557165D0E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9302" y="6032500"/>
            <a:ext cx="2336698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74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CE23E57-AF20-335B-A1CB-5069BC5AA1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8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28D48FB-58A1-FF03-D074-D00F1458F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est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2B6FC24-9E20-BA9F-0E23-0BF80099E6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9302" y="6032500"/>
            <a:ext cx="2336698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863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44B9106-B192-9E38-40A2-22618D47D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ilan du projet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E9F8585-4F6C-EBF5-559C-03A19588AC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9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C39508A-3DB3-09D3-8770-AEE492C201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9302" y="6076950"/>
            <a:ext cx="2336698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63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02ACF31-72C5-309A-5A27-E6450A29A0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L’Agenc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0CF449F9-E0F7-A4C9-FC09-3A896E111C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018" y="1745740"/>
            <a:ext cx="8645326" cy="4902710"/>
          </a:xfrm>
          <a:prstGeom prst="rect">
            <a:avLst/>
          </a:prstGeom>
        </p:spPr>
      </p:pic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A9BE89F8-229F-658E-4DE0-1012046B1F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343" y="1134219"/>
            <a:ext cx="8103195" cy="882023"/>
          </a:xfrm>
        </p:spPr>
        <p:txBody>
          <a:bodyPr/>
          <a:lstStyle/>
          <a:p>
            <a:pPr marL="107950">
              <a:spcAft>
                <a:spcPts val="1500"/>
              </a:spcAft>
            </a:pP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’agence de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Toulouse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: la plus importante de la </a:t>
            </a:r>
            <a:r>
              <a:rPr lang="fr-FR" sz="1800" b="1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Branche Sud-Ouest</a:t>
            </a:r>
            <a:r>
              <a:rPr lang="fr-FR" sz="1800" dirty="0">
                <a:solidFill>
                  <a:srgbClr val="222C4A"/>
                </a:solidFill>
                <a:effectLst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. </a:t>
            </a:r>
            <a:endParaRPr lang="fr-FR" sz="1800" dirty="0">
              <a:solidFill>
                <a:srgbClr val="222C4A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756820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D83C92E7-0ACA-85A2-C269-78277D3276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Organisation des servic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5E2C04D-52B3-C606-E39A-1B3AF65BD8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474" y="1314710"/>
            <a:ext cx="4039791" cy="581300"/>
          </a:xfrm>
        </p:spPr>
        <p:txBody>
          <a:bodyPr/>
          <a:lstStyle/>
          <a:p>
            <a:r>
              <a:rPr lang="fr-FR" b="1" dirty="0"/>
              <a:t>Inetum AS Sud-Ouest </a:t>
            </a:r>
            <a:r>
              <a:rPr lang="fr-FR" dirty="0"/>
              <a:t>(Application Services) : pôles d’activités diverse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98193E7-8C36-6F98-4558-69FBEAABA6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8" y="2317986"/>
            <a:ext cx="4916892" cy="3842312"/>
          </a:xfrm>
          <a:prstGeom prst="rect">
            <a:avLst/>
          </a:prstGeom>
        </p:spPr>
      </p:pic>
      <p:sp>
        <p:nvSpPr>
          <p:cNvPr id="6" name="Rectangle 2">
            <a:extLst>
              <a:ext uri="{FF2B5EF4-FFF2-40B4-BE49-F238E27FC236}">
                <a16:creationId xmlns:a16="http://schemas.microsoft.com/office/drawing/2014/main" id="{357ACE25-BA22-E14D-0B28-56D30BEB40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BAD4B7D4-7E5E-24E2-AB88-F6F195879C96}"/>
              </a:ext>
            </a:extLst>
          </p:cNvPr>
          <p:cNvSpPr txBox="1">
            <a:spLocks/>
          </p:cNvSpPr>
          <p:nvPr/>
        </p:nvSpPr>
        <p:spPr>
          <a:xfrm>
            <a:off x="5316737" y="1314710"/>
            <a:ext cx="4039791" cy="3733317"/>
          </a:xfrm>
          <a:prstGeom prst="rect">
            <a:avLst/>
          </a:prstGeom>
        </p:spPr>
        <p:txBody>
          <a:bodyPr vert="horz" wrap="square" lIns="0" tIns="108000" rIns="0" bIns="0" rtlCol="0">
            <a:spAutoFit/>
          </a:bodyPr>
          <a:lstStyle>
            <a:lvl1pPr marL="0" algn="l" eaLnBrk="1" hangingPunct="1">
              <a:lnSpc>
                <a:spcPct val="110000"/>
              </a:lnSpc>
              <a:spcBef>
                <a:spcPts val="378"/>
              </a:spcBef>
              <a:spcAft>
                <a:spcPts val="378"/>
              </a:spcAft>
              <a:defRPr sz="1463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128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1097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algn="l" eaLnBrk="1" hangingPunct="1">
              <a:lnSpc>
                <a:spcPct val="110000"/>
              </a:lnSpc>
              <a:spcBef>
                <a:spcPts val="0"/>
              </a:spcBef>
              <a:spcAft>
                <a:spcPts val="378"/>
              </a:spcAft>
              <a:defRPr sz="914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914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algn="l" eaLnBrk="1" hangingPunct="1">
              <a:lnSpc>
                <a:spcPct val="110000"/>
              </a:lnSpc>
              <a:spcBef>
                <a:spcPts val="378"/>
              </a:spcBef>
              <a:spcAft>
                <a:spcPts val="0"/>
              </a:spcAft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75500" indent="-131625" algn="l" eaLnBrk="1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Wingdings" panose="05000000000000000000" pitchFamily="2" charset="2"/>
              <a:buChar char="§"/>
              <a:defRPr sz="792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22885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dirty="0"/>
              <a:t>Partenariats</a:t>
            </a:r>
            <a:r>
              <a:rPr lang="fr-FR" dirty="0"/>
              <a:t> avec différents </a:t>
            </a:r>
            <a:r>
              <a:rPr lang="fr-FR" b="1" dirty="0"/>
              <a:t>entreprises</a:t>
            </a:r>
            <a:r>
              <a:rPr lang="fr-FR" dirty="0"/>
              <a:t> et </a:t>
            </a:r>
            <a:r>
              <a:rPr lang="fr-FR" b="1" dirty="0"/>
              <a:t>acteurs publics </a:t>
            </a:r>
            <a:r>
              <a:rPr lang="fr-FR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Ministère de la Justice frança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Airbu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Or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Rolls Royce en Euro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Auch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Ville de Madr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ED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…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37981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C5F921B-E4A7-3D78-8493-748530D2F1B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Squad 3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1122F67-D488-2A1A-CC71-C51D86A3D2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6287" y="1146026"/>
            <a:ext cx="9316363" cy="1631972"/>
          </a:xfrm>
        </p:spPr>
        <p:txBody>
          <a:bodyPr/>
          <a:lstStyle/>
          <a:p>
            <a:r>
              <a:rPr lang="fr-FR" dirty="0"/>
              <a:t>En 2021 : Contrat avec le </a:t>
            </a:r>
            <a:r>
              <a:rPr lang="fr-FR" b="1" dirty="0"/>
              <a:t>Conseil Régional d’Occitanie</a:t>
            </a:r>
            <a:r>
              <a:rPr lang="fr-FR" dirty="0"/>
              <a:t> pour </a:t>
            </a:r>
            <a:r>
              <a:rPr lang="fr-FR" b="1" dirty="0"/>
              <a:t>80 applications</a:t>
            </a:r>
            <a:r>
              <a:rPr lang="fr-FR" dirty="0"/>
              <a:t>.</a:t>
            </a:r>
          </a:p>
          <a:p>
            <a:r>
              <a:rPr lang="fr-FR" b="1" dirty="0"/>
              <a:t>T</a:t>
            </a:r>
            <a:r>
              <a:rPr lang="fr-FR" dirty="0"/>
              <a:t>ierce </a:t>
            </a:r>
            <a:r>
              <a:rPr lang="fr-FR" b="1" dirty="0"/>
              <a:t>M</a:t>
            </a:r>
            <a:r>
              <a:rPr lang="fr-FR" dirty="0"/>
              <a:t>aintenance </a:t>
            </a:r>
            <a:r>
              <a:rPr lang="fr-FR" b="1" dirty="0"/>
              <a:t>A</a:t>
            </a:r>
            <a:r>
              <a:rPr lang="fr-FR" dirty="0"/>
              <a:t>pplicative (</a:t>
            </a:r>
            <a:r>
              <a:rPr lang="fr-FR" b="1" dirty="0"/>
              <a:t>TMA</a:t>
            </a:r>
            <a:r>
              <a:rPr lang="fr-FR" dirty="0"/>
              <a:t>) : Conception et maintenance et amélioration applicative.</a:t>
            </a:r>
          </a:p>
          <a:p>
            <a:r>
              <a:rPr lang="fr-FR" b="1" dirty="0"/>
              <a:t>M</a:t>
            </a:r>
            <a:r>
              <a:rPr lang="fr-FR" dirty="0"/>
              <a:t>ise en </a:t>
            </a:r>
            <a:r>
              <a:rPr lang="fr-FR" b="1" dirty="0"/>
              <a:t>C</a:t>
            </a:r>
            <a:r>
              <a:rPr lang="fr-FR" dirty="0"/>
              <a:t>onformité </a:t>
            </a:r>
            <a:r>
              <a:rPr lang="fr-FR" b="1" dirty="0"/>
              <a:t>O</a:t>
            </a:r>
            <a:r>
              <a:rPr lang="fr-FR" dirty="0"/>
              <a:t>pérationnelle (</a:t>
            </a:r>
            <a:r>
              <a:rPr lang="fr-FR" b="1" dirty="0"/>
              <a:t>MCO</a:t>
            </a:r>
            <a:r>
              <a:rPr lang="fr-FR" dirty="0"/>
              <a:t>) : Outils pleinement opérationnels à tout moment et en adéquation avec leur environnement technique.</a:t>
            </a:r>
          </a:p>
          <a:p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8E7B945-C3A6-8F96-7A78-C98441137C1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8" y="2425700"/>
            <a:ext cx="3362623" cy="4432300"/>
          </a:xfrm>
          <a:prstGeom prst="rect">
            <a:avLst/>
          </a:prstGeom>
        </p:spPr>
      </p:pic>
      <p:pic>
        <p:nvPicPr>
          <p:cNvPr id="6" name="Image 5" descr="Une image contenant table&#10;&#10;Description générée automatiquement">
            <a:extLst>
              <a:ext uri="{FF2B5EF4-FFF2-40B4-BE49-F238E27FC236}">
                <a16:creationId xmlns:a16="http://schemas.microsoft.com/office/drawing/2014/main" id="{6B911BFC-B3E9-7E02-BC41-DAD6D24F01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121" y="3529430"/>
            <a:ext cx="3635292" cy="2785110"/>
          </a:xfrm>
          <a:prstGeom prst="rect">
            <a:avLst/>
          </a:prstGeom>
        </p:spPr>
      </p:pic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1134C1EC-ADCD-CB4D-D445-7E2FD0B080A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893" y="3429000"/>
            <a:ext cx="2117248" cy="341280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A3D044E-EC72-1866-99FC-635E1F37A5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65517" y="915960"/>
            <a:ext cx="944350" cy="659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179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35129404-3657-97D2-783D-9EA1049601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ésentation du projet</a:t>
            </a:r>
            <a:br>
              <a:rPr lang="fr-FR" dirty="0"/>
            </a:b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B2905FD-47CD-676A-02D6-56FC95E729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2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C9EE7E6-552C-D865-042F-98DEAF4BC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9303" y="6089650"/>
            <a:ext cx="2336698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205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Organisation DSO AVV et INDUS V3">
  <a:themeElements>
    <a:clrScheme name="Personnalisé 1">
      <a:dk1>
        <a:srgbClr val="303F48"/>
      </a:dk1>
      <a:lt1>
        <a:srgbClr val="FFFFFF"/>
      </a:lt1>
      <a:dk2>
        <a:srgbClr val="242424"/>
      </a:dk2>
      <a:lt2>
        <a:srgbClr val="5C5C5C"/>
      </a:lt2>
      <a:accent1>
        <a:srgbClr val="F57100"/>
      </a:accent1>
      <a:accent2>
        <a:srgbClr val="FFB04C"/>
      </a:accent2>
      <a:accent3>
        <a:srgbClr val="579696"/>
      </a:accent3>
      <a:accent4>
        <a:srgbClr val="303F48"/>
      </a:accent4>
      <a:accent5>
        <a:srgbClr val="C00000"/>
      </a:accent5>
      <a:accent6>
        <a:srgbClr val="FF5800"/>
      </a:accent6>
      <a:hlink>
        <a:srgbClr val="00ACED"/>
      </a:hlink>
      <a:folHlink>
        <a:srgbClr val="FFB04C"/>
      </a:folHlink>
    </a:clrScheme>
    <a:fontScheme name="Thème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NETUM">
  <a:themeElements>
    <a:clrScheme name="Custom 7">
      <a:dk1>
        <a:sysClr val="windowText" lastClr="000000"/>
      </a:dk1>
      <a:lt1>
        <a:sysClr val="window" lastClr="FFFFFF"/>
      </a:lt1>
      <a:dk2>
        <a:srgbClr val="222C4A"/>
      </a:dk2>
      <a:lt2>
        <a:srgbClr val="EDEDED"/>
      </a:lt2>
      <a:accent1>
        <a:srgbClr val="00AA9B"/>
      </a:accent1>
      <a:accent2>
        <a:srgbClr val="EF4641"/>
      </a:accent2>
      <a:accent3>
        <a:srgbClr val="005473"/>
      </a:accent3>
      <a:accent4>
        <a:srgbClr val="8064A2"/>
      </a:accent4>
      <a:accent5>
        <a:srgbClr val="4BACC6"/>
      </a:accent5>
      <a:accent6>
        <a:srgbClr val="F79646"/>
      </a:accent6>
      <a:hlink>
        <a:srgbClr val="EF4641"/>
      </a:hlink>
      <a:folHlink>
        <a:srgbClr val="EF4641"/>
      </a:folHlink>
    </a:clrScheme>
    <a:fontScheme name="Custom 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INETUM">
  <a:themeElements>
    <a:clrScheme name="Custom 7">
      <a:dk1>
        <a:sysClr val="windowText" lastClr="000000"/>
      </a:dk1>
      <a:lt1>
        <a:sysClr val="window" lastClr="FFFFFF"/>
      </a:lt1>
      <a:dk2>
        <a:srgbClr val="222C4A"/>
      </a:dk2>
      <a:lt2>
        <a:srgbClr val="EDEDED"/>
      </a:lt2>
      <a:accent1>
        <a:srgbClr val="00AA9B"/>
      </a:accent1>
      <a:accent2>
        <a:srgbClr val="EF4641"/>
      </a:accent2>
      <a:accent3>
        <a:srgbClr val="005473"/>
      </a:accent3>
      <a:accent4>
        <a:srgbClr val="8064A2"/>
      </a:accent4>
      <a:accent5>
        <a:srgbClr val="4BACC6"/>
      </a:accent5>
      <a:accent6>
        <a:srgbClr val="F79646"/>
      </a:accent6>
      <a:hlink>
        <a:srgbClr val="EF4641"/>
      </a:hlink>
      <a:folHlink>
        <a:srgbClr val="EF4641"/>
      </a:folHlink>
    </a:clrScheme>
    <a:fontScheme name="Custom 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INETUM">
  <a:themeElements>
    <a:clrScheme name="Custom 7">
      <a:dk1>
        <a:sysClr val="windowText" lastClr="000000"/>
      </a:dk1>
      <a:lt1>
        <a:sysClr val="window" lastClr="FFFFFF"/>
      </a:lt1>
      <a:dk2>
        <a:srgbClr val="222C4A"/>
      </a:dk2>
      <a:lt2>
        <a:srgbClr val="EDEDED"/>
      </a:lt2>
      <a:accent1>
        <a:srgbClr val="00AA9B"/>
      </a:accent1>
      <a:accent2>
        <a:srgbClr val="EF4641"/>
      </a:accent2>
      <a:accent3>
        <a:srgbClr val="005473"/>
      </a:accent3>
      <a:accent4>
        <a:srgbClr val="8064A2"/>
      </a:accent4>
      <a:accent5>
        <a:srgbClr val="4BACC6"/>
      </a:accent5>
      <a:accent6>
        <a:srgbClr val="F79646"/>
      </a:accent6>
      <a:hlink>
        <a:srgbClr val="EF4641"/>
      </a:hlink>
      <a:folHlink>
        <a:srgbClr val="EF4641"/>
      </a:folHlink>
    </a:clrScheme>
    <a:fontScheme name="Custom 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INETUM">
  <a:themeElements>
    <a:clrScheme name="Custom 7">
      <a:dk1>
        <a:sysClr val="windowText" lastClr="000000"/>
      </a:dk1>
      <a:lt1>
        <a:sysClr val="window" lastClr="FFFFFF"/>
      </a:lt1>
      <a:dk2>
        <a:srgbClr val="222C4A"/>
      </a:dk2>
      <a:lt2>
        <a:srgbClr val="EDEDED"/>
      </a:lt2>
      <a:accent1>
        <a:srgbClr val="00AA9B"/>
      </a:accent1>
      <a:accent2>
        <a:srgbClr val="EF4641"/>
      </a:accent2>
      <a:accent3>
        <a:srgbClr val="005473"/>
      </a:accent3>
      <a:accent4>
        <a:srgbClr val="8064A2"/>
      </a:accent4>
      <a:accent5>
        <a:srgbClr val="4BACC6"/>
      </a:accent5>
      <a:accent6>
        <a:srgbClr val="F79646"/>
      </a:accent6>
      <a:hlink>
        <a:srgbClr val="EF4641"/>
      </a:hlink>
      <a:folHlink>
        <a:srgbClr val="EF4641"/>
      </a:folHlink>
    </a:clrScheme>
    <a:fontScheme name="Custom 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9b03830-5364-428d-bcb4-8f0273384e3e">
      <UserInfo>
        <DisplayName/>
        <AccountId xsi:nil="true"/>
        <AccountType/>
      </UserInfo>
    </SharedWithUsers>
    <lcf76f155ced4ddcb4097134ff3c332f xmlns="0080b14c-e694-4d3d-b923-78c37d01f8ea">
      <Terms xmlns="http://schemas.microsoft.com/office/infopath/2007/PartnerControls"/>
    </lcf76f155ced4ddcb4097134ff3c332f>
    <TaxCatchAll xmlns="d65a72c7-7e11-44a4-8e3c-315ae3158d3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F1A3114A48C843BF13F4DF3916E5DC" ma:contentTypeVersion="16" ma:contentTypeDescription="Crée un document." ma:contentTypeScope="" ma:versionID="4755d9cefebb30b893345e3fd665ce05">
  <xsd:schema xmlns:xsd="http://www.w3.org/2001/XMLSchema" xmlns:xs="http://www.w3.org/2001/XMLSchema" xmlns:p="http://schemas.microsoft.com/office/2006/metadata/properties" xmlns:ns2="0080b14c-e694-4d3d-b923-78c37d01f8ea" xmlns:ns3="69b03830-5364-428d-bcb4-8f0273384e3e" xmlns:ns4="d65a72c7-7e11-44a4-8e3c-315ae3158d34" targetNamespace="http://schemas.microsoft.com/office/2006/metadata/properties" ma:root="true" ma:fieldsID="1b49e0e514859102363cbc34710d2b78" ns2:_="" ns3:_="" ns4:_="">
    <xsd:import namespace="0080b14c-e694-4d3d-b923-78c37d01f8ea"/>
    <xsd:import namespace="69b03830-5364-428d-bcb4-8f0273384e3e"/>
    <xsd:import namespace="d65a72c7-7e11-44a4-8e3c-315ae3158d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LengthInSecond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80b14c-e694-4d3d-b923-78c37d01f8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dece1a9e-e829-42a2-80ca-4303f8678d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b03830-5364-428d-bcb4-8f0273384e3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5a72c7-7e11-44a4-8e3c-315ae3158d34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5c8990a-54d1-4e1e-a979-849856e11e93}" ma:internalName="TaxCatchAll" ma:showField="CatchAllData" ma:web="69b03830-5364-428d-bcb4-8f0273384e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943F408-0C35-4C68-992E-47560AEC89D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D0823C4-8115-42D1-AEB0-1F2EBF78568B}">
  <ds:schemaRefs>
    <ds:schemaRef ds:uri="http://schemas.microsoft.com/office/2006/metadata/properties"/>
    <ds:schemaRef ds:uri="http://schemas.microsoft.com/office/infopath/2007/PartnerControls"/>
    <ds:schemaRef ds:uri="69b03830-5364-428d-bcb4-8f0273384e3e"/>
    <ds:schemaRef ds:uri="0080b14c-e694-4d3d-b923-78c37d01f8ea"/>
    <ds:schemaRef ds:uri="d65a72c7-7e11-44a4-8e3c-315ae3158d34"/>
  </ds:schemaRefs>
</ds:datastoreItem>
</file>

<file path=customXml/itemProps3.xml><?xml version="1.0" encoding="utf-8"?>
<ds:datastoreItem xmlns:ds="http://schemas.openxmlformats.org/officeDocument/2006/customXml" ds:itemID="{E0291EE3-D1F6-4548-B817-28D936DF07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080b14c-e694-4d3d-b923-78c37d01f8ea"/>
    <ds:schemaRef ds:uri="69b03830-5364-428d-bcb4-8f0273384e3e"/>
    <ds:schemaRef ds:uri="d65a72c7-7e11-44a4-8e3c-315ae3158d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rganisation DSO AVV et INDUS V3</Template>
  <TotalTime>702</TotalTime>
  <Words>2642</Words>
  <Application>Microsoft Office PowerPoint</Application>
  <PresentationFormat>Format A4 (210 x 297 mm)</PresentationFormat>
  <Paragraphs>265</Paragraphs>
  <Slides>58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8</vt:i4>
      </vt:variant>
    </vt:vector>
  </HeadingPairs>
  <TitlesOfParts>
    <vt:vector size="72" baseType="lpstr">
      <vt:lpstr>Arial</vt:lpstr>
      <vt:lpstr>Calibri</vt:lpstr>
      <vt:lpstr>Lucida Grande</vt:lpstr>
      <vt:lpstr>Myriad Pro</vt:lpstr>
      <vt:lpstr>Symbol</vt:lpstr>
      <vt:lpstr>Tahoma</vt:lpstr>
      <vt:lpstr>Verdana</vt:lpstr>
      <vt:lpstr>Wingdings</vt:lpstr>
      <vt:lpstr>Organisation DSO AVV et INDUS V3</vt:lpstr>
      <vt:lpstr>1_INETUM</vt:lpstr>
      <vt:lpstr>1_INETUM</vt:lpstr>
      <vt:lpstr>1_INETUM</vt:lpstr>
      <vt:lpstr>1_INETUM</vt:lpstr>
      <vt:lpstr>think-cell Slide</vt:lpstr>
      <vt:lpstr>Hub Entreprendre</vt:lpstr>
      <vt:lpstr>Sommaire</vt:lpstr>
      <vt:lpstr>Présentation de l’entreprise</vt:lpstr>
      <vt:lpstr>Historique et présentation du groupe</vt:lpstr>
      <vt:lpstr>En France</vt:lpstr>
      <vt:lpstr>L’Agence</vt:lpstr>
      <vt:lpstr>Organisation des services</vt:lpstr>
      <vt:lpstr>Squad 3</vt:lpstr>
      <vt:lpstr>Présentation du projet </vt:lpstr>
      <vt:lpstr>Enjeux stratégiques pour le Conseil Régional d’Occitanie</vt:lpstr>
      <vt:lpstr>Ecosystème de la plateforme Entreprise</vt:lpstr>
      <vt:lpstr>La plateforme Entreprise</vt:lpstr>
      <vt:lpstr>Les parcours, acteurs et métriques</vt:lpstr>
      <vt:lpstr>Les parcours, acteurs et métriques</vt:lpstr>
      <vt:lpstr>Les parcours, acteurs et métriques</vt:lpstr>
      <vt:lpstr>Les applications</vt:lpstr>
      <vt:lpstr>Hub Entreprendre</vt:lpstr>
      <vt:lpstr>Cahier des charges</vt:lpstr>
      <vt:lpstr>Cahier des charges</vt:lpstr>
      <vt:lpstr>Organisation : Squad 3</vt:lpstr>
      <vt:lpstr>Organisation : projet Hub-Entreprendre </vt:lpstr>
      <vt:lpstr>Organisation : projet Hub-Entreprendre </vt:lpstr>
      <vt:lpstr>Organisation : projet Hub-Entreprendre </vt:lpstr>
      <vt:lpstr>Processus de développement et de test</vt:lpstr>
      <vt:lpstr>Gestion des versions</vt:lpstr>
      <vt:lpstr>Echéances et répartition des tâches</vt:lpstr>
      <vt:lpstr>Productions attendues</vt:lpstr>
      <vt:lpstr>Environnement technique</vt:lpstr>
      <vt:lpstr>Contraintes du projet</vt:lpstr>
      <vt:lpstr>Missions annexes</vt:lpstr>
      <vt:lpstr>CARL Source – Education et Port</vt:lpstr>
      <vt:lpstr>CARL Source – Education et Port</vt:lpstr>
      <vt:lpstr>Présentation PowerPoint</vt:lpstr>
      <vt:lpstr>Conception fonctionnelle</vt:lpstr>
      <vt:lpstr>Pourquoi Conception fonctionnelle ?</vt:lpstr>
      <vt:lpstr>Analyse du besoin – Hub Entreprendre</vt:lpstr>
      <vt:lpstr>Contexte et objectifs du Hub</vt:lpstr>
      <vt:lpstr>Analyse de l’existant du Hub</vt:lpstr>
      <vt:lpstr>Fonctionnalités du Hub</vt:lpstr>
      <vt:lpstr>Fonctionnalités du Hub</vt:lpstr>
      <vt:lpstr>Spécification des besoins fonctionnels</vt:lpstr>
      <vt:lpstr>Présentation PowerPoint</vt:lpstr>
      <vt:lpstr>Spécification des données</vt:lpstr>
      <vt:lpstr>Présentation PowerPoint</vt:lpstr>
      <vt:lpstr>Présentation PowerPoint</vt:lpstr>
      <vt:lpstr>Présentation PowerPoint</vt:lpstr>
      <vt:lpstr>IHM</vt:lpstr>
      <vt:lpstr>Ma Mission</vt:lpstr>
      <vt:lpstr>Maquette et format du fichier</vt:lpstr>
      <vt:lpstr>Cas d’utilisation</vt:lpstr>
      <vt:lpstr>Besoin non fonctionnel</vt:lpstr>
      <vt:lpstr>Conception technique</vt:lpstr>
      <vt:lpstr>Présentation PowerPoint</vt:lpstr>
      <vt:lpstr>Implémentation</vt:lpstr>
      <vt:lpstr>Sécurité</vt:lpstr>
      <vt:lpstr>Deploiement</vt:lpstr>
      <vt:lpstr>Tests</vt:lpstr>
      <vt:lpstr>Bilan du proje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ganigramme TMA</dc:title>
  <dc:subject>Masque PowerPoint Gfi 2017</dc:subject>
  <dc:creator>cedric.delrue@gfi.fr</dc:creator>
  <cp:keywords>Masque; Modèle</cp:keywords>
  <cp:lastModifiedBy>MaT R</cp:lastModifiedBy>
  <cp:revision>390</cp:revision>
  <cp:lastPrinted>2017-01-24T17:37:38Z</cp:lastPrinted>
  <dcterms:created xsi:type="dcterms:W3CDTF">2017-09-04T14:23:47Z</dcterms:created>
  <dcterms:modified xsi:type="dcterms:W3CDTF">2022-08-20T20:1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F1A3114A48C843BF13F4DF3916E5DC</vt:lpwstr>
  </property>
  <property fmtid="{D5CDD505-2E9C-101B-9397-08002B2CF9AE}" pid="3" name="MSIP_Label_2fe6cd30-f34f-40ac-8b4a-f43ba5471208_Enabled">
    <vt:lpwstr>true</vt:lpwstr>
  </property>
  <property fmtid="{D5CDD505-2E9C-101B-9397-08002B2CF9AE}" pid="4" name="MSIP_Label_2fe6cd30-f34f-40ac-8b4a-f43ba5471208_SetDate">
    <vt:lpwstr>2022-02-11T11:16:53Z</vt:lpwstr>
  </property>
  <property fmtid="{D5CDD505-2E9C-101B-9397-08002B2CF9AE}" pid="5" name="MSIP_Label_2fe6cd30-f34f-40ac-8b4a-f43ba5471208_Method">
    <vt:lpwstr>Privileged</vt:lpwstr>
  </property>
  <property fmtid="{D5CDD505-2E9C-101B-9397-08002B2CF9AE}" pid="6" name="MSIP_Label_2fe6cd30-f34f-40ac-8b4a-f43ba5471208_Name">
    <vt:lpwstr>Personal</vt:lpwstr>
  </property>
  <property fmtid="{D5CDD505-2E9C-101B-9397-08002B2CF9AE}" pid="7" name="MSIP_Label_2fe6cd30-f34f-40ac-8b4a-f43ba5471208_SiteId">
    <vt:lpwstr>14cb4ab4-62b8-45a2-a944-e225383ee1f9</vt:lpwstr>
  </property>
  <property fmtid="{D5CDD505-2E9C-101B-9397-08002B2CF9AE}" pid="8" name="MSIP_Label_2fe6cd30-f34f-40ac-8b4a-f43ba5471208_ActionId">
    <vt:lpwstr>902329da-6488-4384-9992-38ce9dc7c9e8</vt:lpwstr>
  </property>
  <property fmtid="{D5CDD505-2E9C-101B-9397-08002B2CF9AE}" pid="9" name="MSIP_Label_2fe6cd30-f34f-40ac-8b4a-f43ba5471208_ContentBits">
    <vt:lpwstr>0</vt:lpwstr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ComplianceAsset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</Properties>
</file>